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notesSlides/notesSlide4.xml" ContentType="application/vnd.openxmlformats-officedocument.presentationml.notesSlide+xml"/>
  <Override PartName="/ppt/tags/tag8.xml" ContentType="application/vnd.openxmlformats-officedocument.presentationml.tags+xml"/>
  <Override PartName="/ppt/notesSlides/notesSlide5.xml" ContentType="application/vnd.openxmlformats-officedocument.presentationml.notesSlide+xml"/>
  <Override PartName="/ppt/tags/tag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removePersonalInfoOnSave="1" saveSubsetFonts="1" autoCompressPictures="0">
  <p:sldMasterIdLst>
    <p:sldMasterId id="2147483692" r:id="rId1"/>
  </p:sldMasterIdLst>
  <p:notesMasterIdLst>
    <p:notesMasterId r:id="rId8"/>
  </p:notesMasterIdLst>
  <p:handoutMasterIdLst>
    <p:handoutMasterId r:id="rId9"/>
  </p:handoutMasterIdLst>
  <p:sldIdLst>
    <p:sldId id="858" r:id="rId2"/>
    <p:sldId id="812" r:id="rId3"/>
    <p:sldId id="813" r:id="rId4"/>
    <p:sldId id="814" r:id="rId5"/>
    <p:sldId id="815" r:id="rId6"/>
    <p:sldId id="819" r:id="rId7"/>
  </p:sldIdLst>
  <p:sldSz cx="9906000" cy="6858000" type="A4"/>
  <p:notesSz cx="6807200" cy="9939338"/>
  <p:custDataLst>
    <p:tags r:id="rId10"/>
  </p:custDataLst>
  <p:defaultTextStyle>
    <a:defPPr>
      <a:defRPr lang="ja-JP"/>
    </a:defPPr>
    <a:lvl1pPr marL="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0.導入" id="{21B707D1-46DE-4520-A549-EEDAF9688A00}">
          <p14:sldIdLst/>
        </p14:section>
        <p14:section name="1.リスクマネジメント概論" id="{AFDC09C5-0CFB-463E-A5C2-0D3B04803F0F}">
          <p14:sldIdLst>
            <p14:sldId id="858"/>
          </p14:sldIdLst>
        </p14:section>
        <p14:section name="2.リスクマネジメントの実践" id="{85E14FFF-908C-4BE2-B83C-4CED3745BD15}">
          <p14:sldIdLst>
            <p14:sldId id="812"/>
            <p14:sldId id="813"/>
            <p14:sldId id="814"/>
            <p14:sldId id="815"/>
          </p14:sldIdLst>
        </p14:section>
        <p14:section name="3.アクションプランの作成" id="{3CFA72A8-C604-4D34-AFC2-B50A9BC3310D}">
          <p14:sldIdLst>
            <p14:sldId id="819"/>
          </p14:sldIdLst>
        </p14:section>
      </p14:sectionLst>
    </p:ext>
    <p:ext uri="{EFAFB233-063F-42B5-8137-9DF3F51BA10A}">
      <p15:sldGuideLst xmlns:p15="http://schemas.microsoft.com/office/powerpoint/2012/main">
        <p15:guide id="9" orient="horz" pos="2137" userDrawn="1">
          <p15:clr>
            <a:srgbClr val="A4A3A4"/>
          </p15:clr>
        </p15:guide>
        <p15:guide id="10" pos="312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1" userDrawn="1">
          <p15:clr>
            <a:srgbClr val="A4A3A4"/>
          </p15:clr>
        </p15:guide>
        <p15:guide id="2" pos="2144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AEFFC"/>
    <a:srgbClr val="82DAF7"/>
    <a:srgbClr val="FF9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スタイルなし、表のグリッド線なし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スタイルなし、表のグリッド線あり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340" autoAdjust="0"/>
    <p:restoredTop sz="95314" autoAdjust="0"/>
  </p:normalViewPr>
  <p:slideViewPr>
    <p:cSldViewPr snapToGrid="0" snapToObjects="1" showGuides="1">
      <p:cViewPr varScale="1">
        <p:scale>
          <a:sx n="80" d="100"/>
          <a:sy n="80" d="100"/>
        </p:scale>
        <p:origin x="1363" y="53"/>
      </p:cViewPr>
      <p:guideLst>
        <p:guide orient="horz" pos="2137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66" d="100"/>
        <a:sy n="66" d="100"/>
      </p:scale>
      <p:origin x="0" y="0"/>
    </p:cViewPr>
  </p:notesTextViewPr>
  <p:sorterViewPr>
    <p:cViewPr>
      <p:scale>
        <a:sx n="110" d="100"/>
        <a:sy n="110" d="100"/>
      </p:scale>
      <p:origin x="0" y="-375"/>
    </p:cViewPr>
  </p:sorterViewPr>
  <p:notesViewPr>
    <p:cSldViewPr snapToGrid="0" snapToObjects="1" showGuides="1">
      <p:cViewPr varScale="1">
        <p:scale>
          <a:sx n="82" d="100"/>
          <a:sy n="82" d="100"/>
        </p:scale>
        <p:origin x="-2742" y="-102"/>
      </p:cViewPr>
      <p:guideLst>
        <p:guide orient="horz" pos="3131"/>
        <p:guide pos="214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handoutMaster" Target="handoutMasters/handoutMaster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50303" cy="496287"/>
          </a:xfrm>
          <a:prstGeom prst="rect">
            <a:avLst/>
          </a:prstGeom>
        </p:spPr>
        <p:txBody>
          <a:bodyPr vert="horz" lIns="91432" tIns="45716" rIns="91432" bIns="45716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5351" y="1"/>
            <a:ext cx="2950303" cy="496287"/>
          </a:xfrm>
          <a:prstGeom prst="rect">
            <a:avLst/>
          </a:prstGeom>
        </p:spPr>
        <p:txBody>
          <a:bodyPr vert="horz" lIns="91432" tIns="45716" rIns="91432" bIns="45716" rtlCol="0"/>
          <a:lstStyle>
            <a:lvl1pPr algn="r">
              <a:defRPr sz="1200"/>
            </a:lvl1pPr>
          </a:lstStyle>
          <a:p>
            <a:fld id="{A91F3830-4213-4B9A-91A3-B08E8DDCB05A}" type="datetimeFigureOut">
              <a:rPr lang="en-US" smtClean="0"/>
              <a:t>12/2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41353"/>
            <a:ext cx="2950303" cy="496287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5351" y="9441353"/>
            <a:ext cx="2950303" cy="496287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r">
              <a:defRPr sz="1200"/>
            </a:lvl1pPr>
          </a:lstStyle>
          <a:p>
            <a:fld id="{C7BC9532-BDF2-4427-9F1A-735C5E8E38B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581241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50303" cy="496287"/>
          </a:xfrm>
          <a:prstGeom prst="rect">
            <a:avLst/>
          </a:prstGeom>
        </p:spPr>
        <p:txBody>
          <a:bodyPr vert="horz" lIns="91432" tIns="45716" rIns="91432" bIns="45716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5351" y="1"/>
            <a:ext cx="2950303" cy="496287"/>
          </a:xfrm>
          <a:prstGeom prst="rect">
            <a:avLst/>
          </a:prstGeom>
        </p:spPr>
        <p:txBody>
          <a:bodyPr vert="horz" lIns="91432" tIns="45716" rIns="91432" bIns="45716" rtlCol="0"/>
          <a:lstStyle>
            <a:lvl1pPr algn="r">
              <a:defRPr sz="1200"/>
            </a:lvl1pPr>
          </a:lstStyle>
          <a:p>
            <a:fld id="{30CA3642-0488-4ABC-8C4C-654590A97A46}" type="datetimeFigureOut">
              <a:rPr lang="en-US" smtClean="0"/>
              <a:t>12/2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2788" y="746125"/>
            <a:ext cx="5381625" cy="3727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2" tIns="45716" rIns="91432" bIns="45716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0720" y="4721526"/>
            <a:ext cx="5445760" cy="4471683"/>
          </a:xfrm>
          <a:prstGeom prst="rect">
            <a:avLst/>
          </a:prstGeom>
        </p:spPr>
        <p:txBody>
          <a:bodyPr vert="horz" lIns="91432" tIns="45716" rIns="91432" bIns="45716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41353"/>
            <a:ext cx="2950303" cy="496287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5351" y="9441353"/>
            <a:ext cx="2950303" cy="496287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r">
              <a:defRPr sz="1200"/>
            </a:lvl1pPr>
          </a:lstStyle>
          <a:p>
            <a:fld id="{0C4573DD-ABEC-409A-8FDD-B681077E60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171738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72866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1pPr>
    <a:lvl2pPr marL="536433" algn="l" defTabSz="1072866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2pPr>
    <a:lvl3pPr marL="1072866" algn="l" defTabSz="1072866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3pPr>
    <a:lvl4pPr marL="1609298" algn="l" defTabSz="1072866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4pPr>
    <a:lvl5pPr marL="2145731" algn="l" defTabSz="1072866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5pPr>
    <a:lvl6pPr marL="2682164" algn="l" defTabSz="1072866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6pPr>
    <a:lvl7pPr marL="3218597" algn="l" defTabSz="1072866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7pPr>
    <a:lvl8pPr marL="3755029" algn="l" defTabSz="1072866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8pPr>
    <a:lvl9pPr marL="4291462" algn="l" defTabSz="1072866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ja-JP" altLang="en-US" dirty="0"/>
              <a:t>ここで、皆さんの職場の自己診断をしていただきます。</a:t>
            </a:r>
            <a:endParaRPr kumimoji="1" lang="en-US" altLang="ja-JP" dirty="0"/>
          </a:p>
          <a:p>
            <a:r>
              <a:rPr kumimoji="1" lang="ja-JP" altLang="en-US" dirty="0"/>
              <a:t>自然災害リスク、オペレーショナルリスク、コンプライアンスリスク、人事・労務リスクの</a:t>
            </a:r>
            <a:r>
              <a:rPr kumimoji="1" lang="en-US" altLang="ja-JP" dirty="0"/>
              <a:t>4</a:t>
            </a:r>
            <a:r>
              <a:rPr kumimoji="1" lang="ja-JP" altLang="en-US" dirty="0" err="1"/>
              <a:t>つの</a:t>
            </a:r>
            <a:r>
              <a:rPr kumimoji="1" lang="ja-JP" altLang="en-US" dirty="0"/>
              <a:t>リスクについて、</a:t>
            </a:r>
            <a:endParaRPr kumimoji="1" lang="en-US" altLang="ja-JP" dirty="0"/>
          </a:p>
          <a:p>
            <a:r>
              <a:rPr kumimoji="1" lang="ja-JP" altLang="en-US" dirty="0"/>
              <a:t>過去</a:t>
            </a:r>
            <a:r>
              <a:rPr kumimoji="1" lang="en-US" altLang="ja-JP" dirty="0"/>
              <a:t>3</a:t>
            </a:r>
            <a:r>
              <a:rPr kumimoji="1" lang="ja-JP" altLang="en-US" dirty="0"/>
              <a:t>年間で問題がどの程度生じていたか回答してみてください。</a:t>
            </a:r>
            <a:endParaRPr kumimoji="1" lang="en-US" altLang="ja-JP" dirty="0"/>
          </a:p>
          <a:p>
            <a:endParaRPr kumimoji="1" lang="en-US" altLang="ja-JP" dirty="0"/>
          </a:p>
          <a:p>
            <a:r>
              <a:rPr kumimoji="1" lang="ja-JP" altLang="en-US" dirty="0"/>
              <a:t>それぞれのリスクで想定している問題の例は記載の通りですが、</a:t>
            </a:r>
            <a:endParaRPr kumimoji="1" lang="en-US" altLang="ja-JP" dirty="0"/>
          </a:p>
          <a:p>
            <a:r>
              <a:rPr kumimoji="1" lang="ja-JP" altLang="en-US" dirty="0"/>
              <a:t>自然災害リスクは、従業員の安否確認や二次災害の発生等に関するトラブル</a:t>
            </a:r>
            <a:endParaRPr kumimoji="1" lang="en-US" altLang="ja-JP" dirty="0"/>
          </a:p>
          <a:p>
            <a:r>
              <a:rPr kumimoji="1" lang="ja-JP" altLang="en-US" dirty="0"/>
              <a:t>オペレーショナルリスクは、業務遂行時の人為ミスや顧客対応に起因するトラブルなど</a:t>
            </a:r>
            <a:r>
              <a:rPr kumimoji="1" lang="ja-JP" altLang="en-US" dirty="0" err="1"/>
              <a:t>、、、</a:t>
            </a:r>
            <a:endParaRPr kumimoji="1" lang="en-US" altLang="ja-JP" dirty="0"/>
          </a:p>
          <a:p>
            <a:endParaRPr kumimoji="1" lang="en-US" altLang="ja-JP" dirty="0"/>
          </a:p>
          <a:p>
            <a:r>
              <a:rPr kumimoji="1" lang="ja-JP" altLang="en-US" dirty="0"/>
              <a:t>これらを踏まえて、皆さんの職場の状況を</a:t>
            </a:r>
            <a:r>
              <a:rPr kumimoji="1" lang="en-US" altLang="ja-JP" dirty="0"/>
              <a:t>3</a:t>
            </a:r>
            <a:r>
              <a:rPr kumimoji="1" lang="ja-JP" altLang="en-US" dirty="0"/>
              <a:t>分程度でチェックしてみてください。</a:t>
            </a:r>
            <a:endParaRPr kumimoji="1"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C4573DD-ABEC-409A-8FDD-B681077E6084}" type="slidenum">
              <a:rPr lang="en-US" smtClean="0"/>
              <a:t>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755034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en-US" altLang="ja-JP" dirty="0"/>
              <a:t>15</a:t>
            </a:r>
            <a:r>
              <a:rPr kumimoji="1" lang="ja-JP" altLang="en-US" dirty="0"/>
              <a:t>分で作業</a:t>
            </a: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C4573DD-ABEC-409A-8FDD-B681077E6084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767070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en-US" altLang="ja-JP" dirty="0"/>
              <a:t>6</a:t>
            </a:r>
            <a:r>
              <a:rPr kumimoji="1" lang="ja-JP" altLang="en-US" dirty="0"/>
              <a:t>分で作業</a:t>
            </a: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C4573DD-ABEC-409A-8FDD-B681077E6084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304528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en-US" altLang="ja-JP" dirty="0"/>
              <a:t>10</a:t>
            </a:r>
            <a:r>
              <a:rPr kumimoji="1" lang="ja-JP" altLang="en-US" dirty="0"/>
              <a:t>分で作業</a:t>
            </a: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C4573DD-ABEC-409A-8FDD-B681077E6084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141041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en-US" altLang="ja-JP" dirty="0"/>
              <a:t>5</a:t>
            </a:r>
            <a:r>
              <a:rPr kumimoji="1" lang="ja-JP" altLang="en-US" dirty="0"/>
              <a:t>分で作業</a:t>
            </a: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C4573DD-ABEC-409A-8FDD-B681077E6084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59871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238250" y="1122363"/>
            <a:ext cx="7429500" cy="2387600"/>
          </a:xfrm>
        </p:spPr>
        <p:txBody>
          <a:bodyPr anchor="b"/>
          <a:lstStyle>
            <a:lvl1pPr algn="ctr">
              <a:defRPr sz="4875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/>
          <a:lstStyle>
            <a:lvl1pPr marL="0" indent="0" algn="ctr">
              <a:buNone/>
              <a:defRPr sz="1950"/>
            </a:lvl1pPr>
            <a:lvl2pPr marL="371475" indent="0" algn="ctr">
              <a:buNone/>
              <a:defRPr sz="1625"/>
            </a:lvl2pPr>
            <a:lvl3pPr marL="742950" indent="0" algn="ctr">
              <a:buNone/>
              <a:defRPr sz="1463"/>
            </a:lvl3pPr>
            <a:lvl4pPr marL="1114425" indent="0" algn="ctr">
              <a:buNone/>
              <a:defRPr sz="1300"/>
            </a:lvl4pPr>
            <a:lvl5pPr marL="1485900" indent="0" algn="ctr">
              <a:buNone/>
              <a:defRPr sz="1300"/>
            </a:lvl5pPr>
            <a:lvl6pPr marL="1857375" indent="0" algn="ctr">
              <a:buNone/>
              <a:defRPr sz="1300"/>
            </a:lvl6pPr>
            <a:lvl7pPr marL="2228850" indent="0" algn="ctr">
              <a:buNone/>
              <a:defRPr sz="1300"/>
            </a:lvl7pPr>
            <a:lvl8pPr marL="2600325" indent="0" algn="ctr">
              <a:buNone/>
              <a:defRPr sz="1300"/>
            </a:lvl8pPr>
            <a:lvl9pPr marL="2971800" indent="0" algn="ctr">
              <a:buNone/>
              <a:defRPr sz="1300"/>
            </a:lvl9pPr>
          </a:lstStyle>
          <a:p>
            <a:r>
              <a:rPr kumimoji="1" lang="ja-JP" altLang="en-US"/>
              <a:t>マスター サブタイトルの書式設定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59913499"/>
      </p:ext>
    </p:extLst>
  </p:cSld>
  <p:clrMapOvr>
    <a:masterClrMapping/>
  </p:clrMapOvr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縦書きテキスト プレースホルダー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59492686"/>
      </p:ext>
    </p:extLst>
  </p:cSld>
  <p:clrMapOvr>
    <a:masterClrMapping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7088981" y="365125"/>
            <a:ext cx="2135981" cy="5811838"/>
          </a:xfrm>
        </p:spPr>
        <p:txBody>
          <a:bodyPr vert="eaVert"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縦書きテキスト プレースホルダー 2"/>
          <p:cNvSpPr>
            <a:spLocks noGrp="1"/>
          </p:cNvSpPr>
          <p:nvPr>
            <p:ph type="body" orient="vert" idx="1"/>
          </p:nvPr>
        </p:nvSpPr>
        <p:spPr>
          <a:xfrm>
            <a:off x="681037" y="365125"/>
            <a:ext cx="6284119" cy="5811838"/>
          </a:xfrm>
        </p:spPr>
        <p:txBody>
          <a:bodyPr vert="eaVert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64432450"/>
      </p:ext>
    </p:extLst>
  </p:cSld>
  <p:clrMapOvr>
    <a:masterClrMapping/>
  </p:clrMapOvr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Gallery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/>
          <p:cNvSpPr>
            <a:spLocks noGrp="1"/>
          </p:cNvSpPr>
          <p:nvPr>
            <p:ph type="pic" sz="quarter" idx="15"/>
          </p:nvPr>
        </p:nvSpPr>
        <p:spPr>
          <a:xfrm>
            <a:off x="1" y="1"/>
            <a:ext cx="5133124" cy="233462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37939" y="6547380"/>
            <a:ext cx="3136900" cy="10002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>
              <a:defRPr lang="en-US" smtClean="0"/>
            </a:lvl1pPr>
          </a:lstStyle>
          <a:p>
            <a:endParaRPr lang="en-US"/>
          </a:p>
        </p:txBody>
      </p:sp>
      <p:sp>
        <p:nvSpPr>
          <p:cNvPr id="7" name="Content Placeholder 2"/>
          <p:cNvSpPr>
            <a:spLocks noGrp="1"/>
          </p:cNvSpPr>
          <p:nvPr>
            <p:ph idx="14"/>
          </p:nvPr>
        </p:nvSpPr>
        <p:spPr>
          <a:xfrm>
            <a:off x="337940" y="5906188"/>
            <a:ext cx="2879648" cy="281480"/>
          </a:xfrm>
        </p:spPr>
        <p:txBody>
          <a:bodyPr numCol="1">
            <a:noAutofit/>
          </a:bodyPr>
          <a:lstStyle>
            <a:lvl1pPr>
              <a:spcBef>
                <a:spcPts val="650"/>
              </a:spcBef>
              <a:tabLst>
                <a:tab pos="309553" algn="l"/>
              </a:tabLst>
              <a:defRPr sz="867" cap="none" baseline="0">
                <a:solidFill>
                  <a:schemeClr val="bg1"/>
                </a:solidFill>
                <a:latin typeface="ＭＳ Ｐゴシック" panose="020B0600070205080204" pitchFamily="50" charset="-128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337940" y="5694197"/>
            <a:ext cx="299244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9841865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0000" y="2970000"/>
            <a:ext cx="5915700" cy="720000"/>
          </a:xfrm>
        </p:spPr>
        <p:txBody>
          <a:bodyPr wrap="none" lIns="90000" tIns="90000" rIns="90000" bIns="90000" anchor="t" anchorCtr="0">
            <a:noAutofit/>
          </a:bodyPr>
          <a:lstStyle>
            <a:lvl1pPr algn="l">
              <a:lnSpc>
                <a:spcPct val="90000"/>
              </a:lnSpc>
              <a:spcBef>
                <a:spcPts val="650"/>
              </a:spcBef>
              <a:defRPr sz="3600" b="0">
                <a:solidFill>
                  <a:schemeClr val="tx2"/>
                </a:solidFill>
                <a:latin typeface="ＭＳ Ｐゴシック" panose="020B0600070205080204" pitchFamily="50" charset="-128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60000" y="2160000"/>
            <a:ext cx="6613006" cy="720000"/>
          </a:xfrm>
        </p:spPr>
        <p:txBody>
          <a:bodyPr wrap="none" lIns="90000" tIns="90000" rIns="90000" bIns="90000" anchor="b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650"/>
              </a:spcBef>
              <a:buNone/>
              <a:defRPr sz="3600">
                <a:solidFill>
                  <a:schemeClr val="tx1"/>
                </a:solidFill>
                <a:latin typeface="ＭＳ Ｐゴシック" panose="020B0600070205080204" pitchFamily="50" charset="-128"/>
              </a:defRPr>
            </a:lvl1pPr>
            <a:lvl2pPr marL="4952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905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858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811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4764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971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4669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9622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26809" y="7711784"/>
            <a:ext cx="3136900" cy="100027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236981" y="7347987"/>
            <a:ext cx="2311400" cy="133434"/>
          </a:xfrm>
          <a:prstGeom prst="rect">
            <a:avLst/>
          </a:prstGeom>
        </p:spPr>
        <p:txBody>
          <a:bodyPr/>
          <a:lstStyle>
            <a:lvl1pPr>
              <a:defRPr>
                <a:latin typeface="ＭＳ Ｐゴシック" panose="020B0600070205080204" pitchFamily="50" charset="-128"/>
              </a:defRPr>
            </a:lvl1pPr>
          </a:lstStyle>
          <a:p>
            <a:fld id="{F06B2653-D1AD-46BA-BB88-3123B5BA212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Freeform 5"/>
          <p:cNvSpPr>
            <a:spLocks/>
          </p:cNvSpPr>
          <p:nvPr userDrawn="1"/>
        </p:nvSpPr>
        <p:spPr bwMode="auto">
          <a:xfrm>
            <a:off x="0" y="4320000"/>
            <a:ext cx="9720000" cy="90000"/>
          </a:xfrm>
          <a:custGeom>
            <a:avLst/>
            <a:gdLst>
              <a:gd name="T0" fmla="*/ 5760 w 5760"/>
              <a:gd name="T1" fmla="*/ 0 h 62"/>
              <a:gd name="T2" fmla="*/ 996 w 5760"/>
              <a:gd name="T3" fmla="*/ 0 h 62"/>
              <a:gd name="T4" fmla="*/ 945 w 5760"/>
              <a:gd name="T5" fmla="*/ 62 h 62"/>
              <a:gd name="T6" fmla="*/ 888 w 5760"/>
              <a:gd name="T7" fmla="*/ 0 h 62"/>
              <a:gd name="T8" fmla="*/ 0 w 5760"/>
              <a:gd name="T9" fmla="*/ 0 h 62"/>
              <a:gd name="connsiteX0" fmla="*/ 9544 w 9544"/>
              <a:gd name="connsiteY0" fmla="*/ 0 h 10000"/>
              <a:gd name="connsiteX1" fmla="*/ 1273 w 9544"/>
              <a:gd name="connsiteY1" fmla="*/ 0 h 10000"/>
              <a:gd name="connsiteX2" fmla="*/ 1185 w 9544"/>
              <a:gd name="connsiteY2" fmla="*/ 10000 h 10000"/>
              <a:gd name="connsiteX3" fmla="*/ 1086 w 9544"/>
              <a:gd name="connsiteY3" fmla="*/ 0 h 10000"/>
              <a:gd name="connsiteX4" fmla="*/ 0 w 9544"/>
              <a:gd name="connsiteY4" fmla="*/ 0 h 10000"/>
              <a:gd name="connsiteX0" fmla="*/ 10196 w 10196"/>
              <a:gd name="connsiteY0" fmla="*/ 0 h 10000"/>
              <a:gd name="connsiteX1" fmla="*/ 1334 w 10196"/>
              <a:gd name="connsiteY1" fmla="*/ 0 h 10000"/>
              <a:gd name="connsiteX2" fmla="*/ 1242 w 10196"/>
              <a:gd name="connsiteY2" fmla="*/ 10000 h 10000"/>
              <a:gd name="connsiteX3" fmla="*/ 1138 w 10196"/>
              <a:gd name="connsiteY3" fmla="*/ 0 h 10000"/>
              <a:gd name="connsiteX4" fmla="*/ 0 w 10196"/>
              <a:gd name="connsiteY4" fmla="*/ 0 h 10000"/>
              <a:gd name="connsiteX0" fmla="*/ 10341 w 10341"/>
              <a:gd name="connsiteY0" fmla="*/ 0 h 10000"/>
              <a:gd name="connsiteX1" fmla="*/ 1334 w 10341"/>
              <a:gd name="connsiteY1" fmla="*/ 0 h 10000"/>
              <a:gd name="connsiteX2" fmla="*/ 1242 w 10341"/>
              <a:gd name="connsiteY2" fmla="*/ 10000 h 10000"/>
              <a:gd name="connsiteX3" fmla="*/ 1138 w 10341"/>
              <a:gd name="connsiteY3" fmla="*/ 0 h 10000"/>
              <a:gd name="connsiteX4" fmla="*/ 0 w 10341"/>
              <a:gd name="connsiteY4" fmla="*/ 0 h 10000"/>
              <a:gd name="connsiteX0" fmla="*/ 10475 w 10475"/>
              <a:gd name="connsiteY0" fmla="*/ 0 h 10000"/>
              <a:gd name="connsiteX1" fmla="*/ 1334 w 10475"/>
              <a:gd name="connsiteY1" fmla="*/ 0 h 10000"/>
              <a:gd name="connsiteX2" fmla="*/ 1242 w 10475"/>
              <a:gd name="connsiteY2" fmla="*/ 10000 h 10000"/>
              <a:gd name="connsiteX3" fmla="*/ 1138 w 10475"/>
              <a:gd name="connsiteY3" fmla="*/ 0 h 10000"/>
              <a:gd name="connsiteX4" fmla="*/ 0 w 10475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75" h="10000">
                <a:moveTo>
                  <a:pt x="10475" y="0"/>
                </a:moveTo>
                <a:lnTo>
                  <a:pt x="1334" y="0"/>
                </a:lnTo>
                <a:cubicBezTo>
                  <a:pt x="1303" y="3333"/>
                  <a:pt x="1272" y="6667"/>
                  <a:pt x="1242" y="10000"/>
                </a:cubicBezTo>
                <a:cubicBezTo>
                  <a:pt x="1207" y="6667"/>
                  <a:pt x="1172" y="3333"/>
                  <a:pt x="1138" y="0"/>
                </a:cubicBezTo>
                <a:lnTo>
                  <a:pt x="0" y="0"/>
                </a:lnTo>
              </a:path>
            </a:pathLst>
          </a:custGeom>
          <a:noFill/>
          <a:ln w="3175" cap="rnd">
            <a:solidFill>
              <a:schemeClr val="tx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9060" tIns="49530" rIns="99060" bIns="49530" numCol="1" anchor="t" anchorCtr="0" compatLnSpc="1">
            <a:prstTxWarp prst="textNoShape">
              <a:avLst/>
            </a:prstTxWarp>
          </a:bodyPr>
          <a:lstStyle/>
          <a:p>
            <a:endParaRPr lang="en-US" sz="2000" dirty="0">
              <a:latin typeface="+mj-ea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265061576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ack"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33900" y="2710131"/>
            <a:ext cx="4619100" cy="960391"/>
          </a:xfrm>
        </p:spPr>
        <p:txBody>
          <a:bodyPr wrap="square" lIns="0" tIns="0" rIns="0" bIns="0" anchor="t" anchorCtr="0">
            <a:spAutoFit/>
          </a:bodyPr>
          <a:lstStyle>
            <a:lvl1pPr algn="l">
              <a:lnSpc>
                <a:spcPct val="90000"/>
              </a:lnSpc>
              <a:spcBef>
                <a:spcPts val="650"/>
              </a:spcBef>
              <a:defRPr sz="3467" b="0">
                <a:solidFill>
                  <a:schemeClr val="tx2"/>
                </a:solidFill>
                <a:latin typeface="ＭＳ Ｐゴシック" panose="020B0600070205080204" pitchFamily="50" charset="-128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33900" y="1727098"/>
            <a:ext cx="4612012" cy="960391"/>
          </a:xfrm>
        </p:spPr>
        <p:txBody>
          <a:bodyPr wrap="square" lIns="0" tIns="0" rIns="0" bIns="0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ts val="650"/>
              </a:spcBef>
              <a:buNone/>
              <a:defRPr sz="3467">
                <a:solidFill>
                  <a:schemeClr val="bg1"/>
                </a:solidFill>
                <a:latin typeface="ＭＳ Ｐゴシック" panose="020B0600070205080204" pitchFamily="50" charset="-128"/>
              </a:defRPr>
            </a:lvl1pPr>
            <a:lvl2pPr marL="4952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905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858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811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4764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971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4669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9622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07267" y="7656989"/>
            <a:ext cx="3136900" cy="100027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259241" y="7252095"/>
            <a:ext cx="2311400" cy="133434"/>
          </a:xfrm>
          <a:prstGeom prst="rect">
            <a:avLst/>
          </a:prstGeom>
        </p:spPr>
        <p:txBody>
          <a:bodyPr/>
          <a:lstStyle>
            <a:lvl1pPr>
              <a:defRPr>
                <a:latin typeface="ＭＳ Ｐゴシック" panose="020B0600070205080204" pitchFamily="50" charset="-128"/>
              </a:defRPr>
            </a:lvl1pPr>
          </a:lstStyle>
          <a:p>
            <a:fld id="{F06B2653-D1AD-46BA-BB88-3123B5BA212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>
          <a:xfrm>
            <a:off x="335361" y="507141"/>
            <a:ext cx="3709590" cy="233462"/>
          </a:xfrm>
        </p:spPr>
        <p:txBody>
          <a:bodyPr/>
          <a:lstStyle>
            <a:lvl1pPr marL="0" indent="0">
              <a:buNone/>
              <a:defRPr sz="1517">
                <a:solidFill>
                  <a:schemeClr val="bg1"/>
                </a:solidFill>
                <a:latin typeface="ＭＳ Ｐゴシック" panose="020B0600070205080204" pitchFamily="50" charset="-128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3"/>
          <p:cNvSpPr>
            <a:spLocks noGrp="1"/>
          </p:cNvSpPr>
          <p:nvPr>
            <p:ph type="body" sz="quarter" idx="14"/>
          </p:nvPr>
        </p:nvSpPr>
        <p:spPr>
          <a:xfrm>
            <a:off x="7442154" y="5999538"/>
            <a:ext cx="2102679" cy="266868"/>
          </a:xfrm>
        </p:spPr>
        <p:txBody>
          <a:bodyPr/>
          <a:lstStyle>
            <a:lvl1pPr marL="0" indent="0" algn="r">
              <a:spcBef>
                <a:spcPts val="0"/>
              </a:spcBef>
              <a:buNone/>
              <a:defRPr sz="867">
                <a:solidFill>
                  <a:schemeClr val="bg1"/>
                </a:solidFill>
                <a:latin typeface="ＭＳ Ｐゴシック" panose="020B0600070205080204" pitchFamily="50" charset="-128"/>
              </a:defRPr>
            </a:lvl1pPr>
            <a:lvl2pPr marL="495285" indent="0" algn="r">
              <a:spcBef>
                <a:spcPts val="0"/>
              </a:spcBef>
              <a:buNone/>
              <a:defRPr sz="867" i="1">
                <a:solidFill>
                  <a:schemeClr val="bg1"/>
                </a:solidFill>
                <a:latin typeface="ＭＳ Ｐゴシック" panose="020B0600070205080204" pitchFamily="50" charset="-128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1" name="Freeform 5"/>
          <p:cNvSpPr>
            <a:spLocks/>
          </p:cNvSpPr>
          <p:nvPr userDrawn="1"/>
        </p:nvSpPr>
        <p:spPr bwMode="auto">
          <a:xfrm>
            <a:off x="-10318" y="4461420"/>
            <a:ext cx="9903365" cy="131233"/>
          </a:xfrm>
          <a:custGeom>
            <a:avLst/>
            <a:gdLst>
              <a:gd name="T0" fmla="*/ 5760 w 5760"/>
              <a:gd name="T1" fmla="*/ 0 h 62"/>
              <a:gd name="T2" fmla="*/ 996 w 5760"/>
              <a:gd name="T3" fmla="*/ 0 h 62"/>
              <a:gd name="T4" fmla="*/ 945 w 5760"/>
              <a:gd name="T5" fmla="*/ 62 h 62"/>
              <a:gd name="T6" fmla="*/ 888 w 5760"/>
              <a:gd name="T7" fmla="*/ 0 h 62"/>
              <a:gd name="T8" fmla="*/ 0 w 5760"/>
              <a:gd name="T9" fmla="*/ 0 h 62"/>
              <a:gd name="connsiteX0" fmla="*/ 9544 w 9544"/>
              <a:gd name="connsiteY0" fmla="*/ 0 h 10000"/>
              <a:gd name="connsiteX1" fmla="*/ 1273 w 9544"/>
              <a:gd name="connsiteY1" fmla="*/ 0 h 10000"/>
              <a:gd name="connsiteX2" fmla="*/ 1185 w 9544"/>
              <a:gd name="connsiteY2" fmla="*/ 10000 h 10000"/>
              <a:gd name="connsiteX3" fmla="*/ 1086 w 9544"/>
              <a:gd name="connsiteY3" fmla="*/ 0 h 10000"/>
              <a:gd name="connsiteX4" fmla="*/ 0 w 9544"/>
              <a:gd name="connsiteY4" fmla="*/ 0 h 10000"/>
              <a:gd name="connsiteX0" fmla="*/ 10196 w 10196"/>
              <a:gd name="connsiteY0" fmla="*/ 0 h 10000"/>
              <a:gd name="connsiteX1" fmla="*/ 1334 w 10196"/>
              <a:gd name="connsiteY1" fmla="*/ 0 h 10000"/>
              <a:gd name="connsiteX2" fmla="*/ 1242 w 10196"/>
              <a:gd name="connsiteY2" fmla="*/ 10000 h 10000"/>
              <a:gd name="connsiteX3" fmla="*/ 1138 w 10196"/>
              <a:gd name="connsiteY3" fmla="*/ 0 h 10000"/>
              <a:gd name="connsiteX4" fmla="*/ 0 w 10196"/>
              <a:gd name="connsiteY4" fmla="*/ 0 h 10000"/>
              <a:gd name="connsiteX0" fmla="*/ 10341 w 10341"/>
              <a:gd name="connsiteY0" fmla="*/ 0 h 10000"/>
              <a:gd name="connsiteX1" fmla="*/ 1334 w 10341"/>
              <a:gd name="connsiteY1" fmla="*/ 0 h 10000"/>
              <a:gd name="connsiteX2" fmla="*/ 1242 w 10341"/>
              <a:gd name="connsiteY2" fmla="*/ 10000 h 10000"/>
              <a:gd name="connsiteX3" fmla="*/ 1138 w 10341"/>
              <a:gd name="connsiteY3" fmla="*/ 0 h 10000"/>
              <a:gd name="connsiteX4" fmla="*/ 0 w 10341"/>
              <a:gd name="connsiteY4" fmla="*/ 0 h 10000"/>
              <a:gd name="connsiteX0" fmla="*/ 10475 w 10475"/>
              <a:gd name="connsiteY0" fmla="*/ 0 h 10000"/>
              <a:gd name="connsiteX1" fmla="*/ 1334 w 10475"/>
              <a:gd name="connsiteY1" fmla="*/ 0 h 10000"/>
              <a:gd name="connsiteX2" fmla="*/ 1242 w 10475"/>
              <a:gd name="connsiteY2" fmla="*/ 10000 h 10000"/>
              <a:gd name="connsiteX3" fmla="*/ 1138 w 10475"/>
              <a:gd name="connsiteY3" fmla="*/ 0 h 10000"/>
              <a:gd name="connsiteX4" fmla="*/ 0 w 10475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75" h="10000">
                <a:moveTo>
                  <a:pt x="10475" y="0"/>
                </a:moveTo>
                <a:lnTo>
                  <a:pt x="1334" y="0"/>
                </a:lnTo>
                <a:cubicBezTo>
                  <a:pt x="1303" y="3333"/>
                  <a:pt x="1272" y="6667"/>
                  <a:pt x="1242" y="10000"/>
                </a:cubicBezTo>
                <a:cubicBezTo>
                  <a:pt x="1207" y="6667"/>
                  <a:pt x="1172" y="3333"/>
                  <a:pt x="1138" y="0"/>
                </a:cubicBezTo>
                <a:lnTo>
                  <a:pt x="0" y="0"/>
                </a:lnTo>
              </a:path>
            </a:pathLst>
          </a:custGeom>
          <a:noFill/>
          <a:ln w="7938" cap="rnd">
            <a:solidFill>
              <a:srgbClr val="E1301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9060" tIns="49530" rIns="99060" bIns="49530" numCol="1" anchor="t" anchorCtr="0" compatLnSpc="1">
            <a:prstTxWarp prst="textNoShape">
              <a:avLst/>
            </a:prstTxWarp>
          </a:bodyPr>
          <a:lstStyle/>
          <a:p>
            <a:endParaRPr lang="en-US" sz="2288" dirty="0">
              <a:latin typeface="ＭＳ Ｐゴシック" panose="020B0600070205080204" pitchFamily="50" charset="-128"/>
            </a:endParaRPr>
          </a:p>
        </p:txBody>
      </p:sp>
      <p:pic>
        <p:nvPicPr>
          <p:cNvPr id="12" name="Picture 4" descr="C:\Users\OFFICE~1\AppData\Local\Temp\vmware-Office ROI\VMwareDnD\d95b34d1\pwc_logo_white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8684" y="5527690"/>
            <a:ext cx="832104" cy="778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054234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Head"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35359" y="163553"/>
            <a:ext cx="9570641" cy="1300356"/>
          </a:xfrm>
        </p:spPr>
        <p:txBody>
          <a:bodyPr anchor="t"/>
          <a:lstStyle>
            <a:lvl1pPr algn="l">
              <a:defRPr sz="8450" b="0" cap="none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35360" y="1595243"/>
            <a:ext cx="8420100" cy="533544"/>
          </a:xfrm>
        </p:spPr>
        <p:txBody>
          <a:bodyPr anchor="t" anchorCtr="0"/>
          <a:lstStyle>
            <a:lvl1pPr marL="0" indent="0">
              <a:buNone/>
              <a:defRPr sz="3467">
                <a:solidFill>
                  <a:schemeClr val="bg1"/>
                </a:solidFill>
                <a:latin typeface="ＭＳ Ｐゴシック" panose="020B0600070205080204" pitchFamily="50" charset="-128"/>
              </a:defRPr>
            </a:lvl1pPr>
            <a:lvl2pPr marL="495285" indent="0">
              <a:buNone/>
              <a:defRPr sz="1950">
                <a:solidFill>
                  <a:schemeClr val="tx1">
                    <a:tint val="75000"/>
                  </a:schemeClr>
                </a:solidFill>
              </a:defRPr>
            </a:lvl2pPr>
            <a:lvl3pPr marL="990570" indent="0">
              <a:buNone/>
              <a:defRPr sz="1733">
                <a:solidFill>
                  <a:schemeClr val="tx1">
                    <a:tint val="75000"/>
                  </a:schemeClr>
                </a:solidFill>
              </a:defRPr>
            </a:lvl3pPr>
            <a:lvl4pPr marL="1485854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4pPr>
            <a:lvl5pPr marL="1981139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5pPr>
            <a:lvl6pPr marL="2476424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6pPr>
            <a:lvl7pPr marL="2971709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7pPr>
            <a:lvl8pPr marL="3466993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8pPr>
            <a:lvl9pPr marL="3962278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7939" y="6547380"/>
            <a:ext cx="3136900" cy="10002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>
              <a:defRPr lang="en-US" smtClean="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35360" y="4986981"/>
            <a:ext cx="2052936" cy="13343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867">
                <a:solidFill>
                  <a:schemeClr val="bg1"/>
                </a:solidFill>
                <a:latin typeface="ＭＳ Ｐゴシック" panose="020B0600070205080204" pitchFamily="50" charset="-128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2693194" y="4986981"/>
            <a:ext cx="2022334" cy="13343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867">
                <a:solidFill>
                  <a:schemeClr val="bg1"/>
                </a:solidFill>
                <a:latin typeface="ＭＳ Ｐゴシック" panose="020B0600070205080204" pitchFamily="50" charset="-128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5022655" y="4986981"/>
            <a:ext cx="2179320" cy="13343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867">
                <a:solidFill>
                  <a:schemeClr val="bg1"/>
                </a:solidFill>
                <a:latin typeface="ＭＳ Ｐゴシック" panose="020B0600070205080204" pitchFamily="50" charset="-128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4880770" y="4927601"/>
            <a:ext cx="0" cy="758825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2548732" y="4927601"/>
            <a:ext cx="0" cy="758825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 userDrawn="1"/>
        </p:nvSpPr>
        <p:spPr>
          <a:xfrm>
            <a:off x="337940" y="6401048"/>
            <a:ext cx="2773163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650" dirty="0">
                <a:solidFill>
                  <a:schemeClr val="bg1"/>
                </a:solidFill>
                <a:latin typeface="ＭＳ Ｐゴシック" panose="020B0600070205080204" pitchFamily="50" charset="-128"/>
              </a:rPr>
              <a:t>PwC’s Digital</a:t>
            </a:r>
            <a:r>
              <a:rPr lang="en-US" sz="650" baseline="0" dirty="0">
                <a:solidFill>
                  <a:schemeClr val="bg1"/>
                </a:solidFill>
                <a:latin typeface="ＭＳ Ｐゴシック" panose="020B0600070205080204" pitchFamily="50" charset="-128"/>
              </a:rPr>
              <a:t> Services</a:t>
            </a:r>
            <a:endParaRPr lang="en-US" sz="650" dirty="0">
              <a:solidFill>
                <a:schemeClr val="bg1"/>
              </a:solidFill>
              <a:latin typeface="ＭＳ Ｐゴシック" panose="020B0600070205080204" pitchFamily="50" charset="-128"/>
            </a:endParaRP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-10318" y="4461420"/>
            <a:ext cx="9903365" cy="131233"/>
          </a:xfrm>
          <a:custGeom>
            <a:avLst/>
            <a:gdLst>
              <a:gd name="T0" fmla="*/ 5760 w 5760"/>
              <a:gd name="T1" fmla="*/ 0 h 62"/>
              <a:gd name="T2" fmla="*/ 996 w 5760"/>
              <a:gd name="T3" fmla="*/ 0 h 62"/>
              <a:gd name="T4" fmla="*/ 945 w 5760"/>
              <a:gd name="T5" fmla="*/ 62 h 62"/>
              <a:gd name="T6" fmla="*/ 888 w 5760"/>
              <a:gd name="T7" fmla="*/ 0 h 62"/>
              <a:gd name="T8" fmla="*/ 0 w 5760"/>
              <a:gd name="T9" fmla="*/ 0 h 62"/>
              <a:gd name="connsiteX0" fmla="*/ 9544 w 9544"/>
              <a:gd name="connsiteY0" fmla="*/ 0 h 10000"/>
              <a:gd name="connsiteX1" fmla="*/ 1273 w 9544"/>
              <a:gd name="connsiteY1" fmla="*/ 0 h 10000"/>
              <a:gd name="connsiteX2" fmla="*/ 1185 w 9544"/>
              <a:gd name="connsiteY2" fmla="*/ 10000 h 10000"/>
              <a:gd name="connsiteX3" fmla="*/ 1086 w 9544"/>
              <a:gd name="connsiteY3" fmla="*/ 0 h 10000"/>
              <a:gd name="connsiteX4" fmla="*/ 0 w 9544"/>
              <a:gd name="connsiteY4" fmla="*/ 0 h 10000"/>
              <a:gd name="connsiteX0" fmla="*/ 10196 w 10196"/>
              <a:gd name="connsiteY0" fmla="*/ 0 h 10000"/>
              <a:gd name="connsiteX1" fmla="*/ 1334 w 10196"/>
              <a:gd name="connsiteY1" fmla="*/ 0 h 10000"/>
              <a:gd name="connsiteX2" fmla="*/ 1242 w 10196"/>
              <a:gd name="connsiteY2" fmla="*/ 10000 h 10000"/>
              <a:gd name="connsiteX3" fmla="*/ 1138 w 10196"/>
              <a:gd name="connsiteY3" fmla="*/ 0 h 10000"/>
              <a:gd name="connsiteX4" fmla="*/ 0 w 10196"/>
              <a:gd name="connsiteY4" fmla="*/ 0 h 10000"/>
              <a:gd name="connsiteX0" fmla="*/ 10341 w 10341"/>
              <a:gd name="connsiteY0" fmla="*/ 0 h 10000"/>
              <a:gd name="connsiteX1" fmla="*/ 1334 w 10341"/>
              <a:gd name="connsiteY1" fmla="*/ 0 h 10000"/>
              <a:gd name="connsiteX2" fmla="*/ 1242 w 10341"/>
              <a:gd name="connsiteY2" fmla="*/ 10000 h 10000"/>
              <a:gd name="connsiteX3" fmla="*/ 1138 w 10341"/>
              <a:gd name="connsiteY3" fmla="*/ 0 h 10000"/>
              <a:gd name="connsiteX4" fmla="*/ 0 w 10341"/>
              <a:gd name="connsiteY4" fmla="*/ 0 h 10000"/>
              <a:gd name="connsiteX0" fmla="*/ 10475 w 10475"/>
              <a:gd name="connsiteY0" fmla="*/ 0 h 10000"/>
              <a:gd name="connsiteX1" fmla="*/ 1334 w 10475"/>
              <a:gd name="connsiteY1" fmla="*/ 0 h 10000"/>
              <a:gd name="connsiteX2" fmla="*/ 1242 w 10475"/>
              <a:gd name="connsiteY2" fmla="*/ 10000 h 10000"/>
              <a:gd name="connsiteX3" fmla="*/ 1138 w 10475"/>
              <a:gd name="connsiteY3" fmla="*/ 0 h 10000"/>
              <a:gd name="connsiteX4" fmla="*/ 0 w 10475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75" h="10000">
                <a:moveTo>
                  <a:pt x="10475" y="0"/>
                </a:moveTo>
                <a:lnTo>
                  <a:pt x="1334" y="0"/>
                </a:lnTo>
                <a:cubicBezTo>
                  <a:pt x="1303" y="3333"/>
                  <a:pt x="1272" y="6667"/>
                  <a:pt x="1242" y="10000"/>
                </a:cubicBezTo>
                <a:cubicBezTo>
                  <a:pt x="1207" y="6667"/>
                  <a:pt x="1172" y="3333"/>
                  <a:pt x="1138" y="0"/>
                </a:cubicBezTo>
                <a:lnTo>
                  <a:pt x="0" y="0"/>
                </a:lnTo>
              </a:path>
            </a:pathLst>
          </a:custGeom>
          <a:noFill/>
          <a:ln w="7938" cap="rnd">
            <a:solidFill>
              <a:schemeClr val="bg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9060" tIns="49530" rIns="99060" bIns="49530" numCol="1" anchor="t" anchorCtr="0" compatLnSpc="1">
            <a:prstTxWarp prst="textNoShape">
              <a:avLst/>
            </a:prstTxWarp>
          </a:bodyPr>
          <a:lstStyle/>
          <a:p>
            <a:endParaRPr lang="en-US" sz="2288" dirty="0">
              <a:latin typeface="ＭＳ Ｐゴシック" panose="020B060007020508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7852491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Head Simple"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35360" y="1595243"/>
            <a:ext cx="8420100" cy="533544"/>
          </a:xfrm>
        </p:spPr>
        <p:txBody>
          <a:bodyPr anchor="t" anchorCtr="0"/>
          <a:lstStyle>
            <a:lvl1pPr marL="0" indent="0">
              <a:buNone/>
              <a:defRPr sz="3467">
                <a:solidFill>
                  <a:schemeClr val="bg1"/>
                </a:solidFill>
                <a:latin typeface="ＭＳ Ｐゴシック" panose="020B0600070205080204" pitchFamily="50" charset="-128"/>
              </a:defRPr>
            </a:lvl1pPr>
            <a:lvl2pPr marL="495285" indent="0">
              <a:buNone/>
              <a:defRPr sz="1950">
                <a:solidFill>
                  <a:schemeClr val="tx1">
                    <a:tint val="75000"/>
                  </a:schemeClr>
                </a:solidFill>
              </a:defRPr>
            </a:lvl2pPr>
            <a:lvl3pPr marL="990570" indent="0">
              <a:buNone/>
              <a:defRPr sz="1733">
                <a:solidFill>
                  <a:schemeClr val="tx1">
                    <a:tint val="75000"/>
                  </a:schemeClr>
                </a:solidFill>
              </a:defRPr>
            </a:lvl3pPr>
            <a:lvl4pPr marL="1485854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4pPr>
            <a:lvl5pPr marL="1981139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5pPr>
            <a:lvl6pPr marL="2476424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6pPr>
            <a:lvl7pPr marL="2971709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7pPr>
            <a:lvl8pPr marL="3466993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8pPr>
            <a:lvl9pPr marL="3962278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7939" y="6547380"/>
            <a:ext cx="3136900" cy="10002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marL="0" algn="l" defTabSz="990570" rtl="0" eaLnBrk="1" latinLnBrk="0" hangingPunct="1">
              <a:defRPr lang="en-US" sz="650" kern="1200" smtClean="0">
                <a:solidFill>
                  <a:schemeClr val="bg1"/>
                </a:solidFill>
                <a:latin typeface="ＭＳ Ｐゴシック" panose="020B0600070205080204" pitchFamily="50" charset="-128"/>
                <a:ea typeface="+mn-ea"/>
                <a:cs typeface="+mn-cs"/>
              </a:defRPr>
            </a:lvl1pPr>
          </a:lstStyle>
          <a:p>
            <a:endParaRPr lang="ja-JP" alt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337940" y="6401048"/>
            <a:ext cx="2773163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650" dirty="0">
                <a:solidFill>
                  <a:schemeClr val="bg1"/>
                </a:solidFill>
                <a:latin typeface="ＭＳ Ｐゴシック" panose="020B0600070205080204" pitchFamily="50" charset="-128"/>
              </a:rPr>
              <a:t>PwC’s Digital</a:t>
            </a:r>
            <a:r>
              <a:rPr lang="en-US" sz="650" baseline="0" dirty="0">
                <a:solidFill>
                  <a:schemeClr val="bg1"/>
                </a:solidFill>
                <a:latin typeface="ＭＳ Ｐゴシック" panose="020B0600070205080204" pitchFamily="50" charset="-128"/>
              </a:rPr>
              <a:t> Services</a:t>
            </a:r>
            <a:endParaRPr lang="en-US" sz="650" dirty="0">
              <a:solidFill>
                <a:schemeClr val="bg1"/>
              </a:solidFill>
              <a:latin typeface="ＭＳ Ｐゴシック" panose="020B0600070205080204" pitchFamily="50" charset="-128"/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335359" y="163553"/>
            <a:ext cx="9570641" cy="1300356"/>
          </a:xfrm>
        </p:spPr>
        <p:txBody>
          <a:bodyPr anchor="t"/>
          <a:lstStyle>
            <a:lvl1pPr algn="l">
              <a:defRPr sz="8450" b="0" cap="none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</a:t>
            </a:r>
          </a:p>
        </p:txBody>
      </p:sp>
      <p:sp>
        <p:nvSpPr>
          <p:cNvPr id="9" name="Freeform 5"/>
          <p:cNvSpPr>
            <a:spLocks/>
          </p:cNvSpPr>
          <p:nvPr userDrawn="1"/>
        </p:nvSpPr>
        <p:spPr bwMode="auto">
          <a:xfrm>
            <a:off x="-10318" y="4461420"/>
            <a:ext cx="9903365" cy="131233"/>
          </a:xfrm>
          <a:custGeom>
            <a:avLst/>
            <a:gdLst>
              <a:gd name="T0" fmla="*/ 5760 w 5760"/>
              <a:gd name="T1" fmla="*/ 0 h 62"/>
              <a:gd name="T2" fmla="*/ 996 w 5760"/>
              <a:gd name="T3" fmla="*/ 0 h 62"/>
              <a:gd name="T4" fmla="*/ 945 w 5760"/>
              <a:gd name="T5" fmla="*/ 62 h 62"/>
              <a:gd name="T6" fmla="*/ 888 w 5760"/>
              <a:gd name="T7" fmla="*/ 0 h 62"/>
              <a:gd name="T8" fmla="*/ 0 w 5760"/>
              <a:gd name="T9" fmla="*/ 0 h 62"/>
              <a:gd name="connsiteX0" fmla="*/ 9544 w 9544"/>
              <a:gd name="connsiteY0" fmla="*/ 0 h 10000"/>
              <a:gd name="connsiteX1" fmla="*/ 1273 w 9544"/>
              <a:gd name="connsiteY1" fmla="*/ 0 h 10000"/>
              <a:gd name="connsiteX2" fmla="*/ 1185 w 9544"/>
              <a:gd name="connsiteY2" fmla="*/ 10000 h 10000"/>
              <a:gd name="connsiteX3" fmla="*/ 1086 w 9544"/>
              <a:gd name="connsiteY3" fmla="*/ 0 h 10000"/>
              <a:gd name="connsiteX4" fmla="*/ 0 w 9544"/>
              <a:gd name="connsiteY4" fmla="*/ 0 h 10000"/>
              <a:gd name="connsiteX0" fmla="*/ 10196 w 10196"/>
              <a:gd name="connsiteY0" fmla="*/ 0 h 10000"/>
              <a:gd name="connsiteX1" fmla="*/ 1334 w 10196"/>
              <a:gd name="connsiteY1" fmla="*/ 0 h 10000"/>
              <a:gd name="connsiteX2" fmla="*/ 1242 w 10196"/>
              <a:gd name="connsiteY2" fmla="*/ 10000 h 10000"/>
              <a:gd name="connsiteX3" fmla="*/ 1138 w 10196"/>
              <a:gd name="connsiteY3" fmla="*/ 0 h 10000"/>
              <a:gd name="connsiteX4" fmla="*/ 0 w 10196"/>
              <a:gd name="connsiteY4" fmla="*/ 0 h 10000"/>
              <a:gd name="connsiteX0" fmla="*/ 10341 w 10341"/>
              <a:gd name="connsiteY0" fmla="*/ 0 h 10000"/>
              <a:gd name="connsiteX1" fmla="*/ 1334 w 10341"/>
              <a:gd name="connsiteY1" fmla="*/ 0 h 10000"/>
              <a:gd name="connsiteX2" fmla="*/ 1242 w 10341"/>
              <a:gd name="connsiteY2" fmla="*/ 10000 h 10000"/>
              <a:gd name="connsiteX3" fmla="*/ 1138 w 10341"/>
              <a:gd name="connsiteY3" fmla="*/ 0 h 10000"/>
              <a:gd name="connsiteX4" fmla="*/ 0 w 10341"/>
              <a:gd name="connsiteY4" fmla="*/ 0 h 10000"/>
              <a:gd name="connsiteX0" fmla="*/ 10475 w 10475"/>
              <a:gd name="connsiteY0" fmla="*/ 0 h 10000"/>
              <a:gd name="connsiteX1" fmla="*/ 1334 w 10475"/>
              <a:gd name="connsiteY1" fmla="*/ 0 h 10000"/>
              <a:gd name="connsiteX2" fmla="*/ 1242 w 10475"/>
              <a:gd name="connsiteY2" fmla="*/ 10000 h 10000"/>
              <a:gd name="connsiteX3" fmla="*/ 1138 w 10475"/>
              <a:gd name="connsiteY3" fmla="*/ 0 h 10000"/>
              <a:gd name="connsiteX4" fmla="*/ 0 w 10475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75" h="10000">
                <a:moveTo>
                  <a:pt x="10475" y="0"/>
                </a:moveTo>
                <a:lnTo>
                  <a:pt x="1334" y="0"/>
                </a:lnTo>
                <a:cubicBezTo>
                  <a:pt x="1303" y="3333"/>
                  <a:pt x="1272" y="6667"/>
                  <a:pt x="1242" y="10000"/>
                </a:cubicBezTo>
                <a:cubicBezTo>
                  <a:pt x="1207" y="6667"/>
                  <a:pt x="1172" y="3333"/>
                  <a:pt x="1138" y="0"/>
                </a:cubicBezTo>
                <a:lnTo>
                  <a:pt x="0" y="0"/>
                </a:lnTo>
              </a:path>
            </a:pathLst>
          </a:custGeom>
          <a:noFill/>
          <a:ln w="7938" cap="rnd">
            <a:solidFill>
              <a:schemeClr val="bg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9060" tIns="49530" rIns="99060" bIns="49530" numCol="1" anchor="t" anchorCtr="0" compatLnSpc="1">
            <a:prstTxWarp prst="textNoShape">
              <a:avLst/>
            </a:prstTxWarp>
          </a:bodyPr>
          <a:lstStyle/>
          <a:p>
            <a:endParaRPr lang="en-US" sz="2288" dirty="0">
              <a:latin typeface="ＭＳ Ｐゴシック" panose="020B060007020508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9087307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cxnSp>
        <p:nvCxnSpPr>
          <p:cNvPr id="10" name="Straight Connector 9"/>
          <p:cNvCxnSpPr/>
          <p:nvPr userDrawn="1"/>
        </p:nvCxnSpPr>
        <p:spPr bwMode="gray">
          <a:xfrm rot="16200000">
            <a:off x="4953000" y="2318515"/>
            <a:ext cx="0" cy="616546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/>
          <p:cNvPicPr>
            <a:picLocks/>
          </p:cNvPicPr>
          <p:nvPr userDrawn="1"/>
        </p:nvPicPr>
        <p:blipFill rotWithShape="1">
          <a:blip r:embed="rId2" cstate="print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4711182" y="1843670"/>
            <a:ext cx="540000" cy="540000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6625565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 bwMode="white">
          <a:xfrm>
            <a:off x="3338117" y="0"/>
            <a:ext cx="6573043" cy="6858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30960" y="2848534"/>
            <a:ext cx="2663185" cy="666977"/>
          </a:xfrm>
        </p:spPr>
        <p:txBody>
          <a:bodyPr anchor="t"/>
          <a:lstStyle>
            <a:lvl1pPr algn="ctr">
              <a:lnSpc>
                <a:spcPct val="100000"/>
              </a:lnSpc>
              <a:defRPr sz="2167" b="0" cap="none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37940" y="4376928"/>
            <a:ext cx="2648757" cy="116635"/>
          </a:xfrm>
        </p:spPr>
        <p:txBody>
          <a:bodyPr anchor="t" anchorCtr="0"/>
          <a:lstStyle>
            <a:lvl1pPr marL="0" indent="0" algn="ctr">
              <a:buNone/>
              <a:defRPr sz="758" b="1" kern="0" cap="all" spc="0" baseline="0">
                <a:solidFill>
                  <a:schemeClr val="tx1"/>
                </a:solidFill>
                <a:latin typeface="ＭＳ Ｐゴシック" panose="020B0600070205080204" pitchFamily="50" charset="-128"/>
              </a:defRPr>
            </a:lvl1pPr>
            <a:lvl2pPr marL="495285" indent="0">
              <a:buNone/>
              <a:defRPr sz="1950">
                <a:solidFill>
                  <a:schemeClr val="tx1">
                    <a:tint val="75000"/>
                  </a:schemeClr>
                </a:solidFill>
              </a:defRPr>
            </a:lvl2pPr>
            <a:lvl3pPr marL="990570" indent="0">
              <a:buNone/>
              <a:defRPr sz="1733">
                <a:solidFill>
                  <a:schemeClr val="tx1">
                    <a:tint val="75000"/>
                  </a:schemeClr>
                </a:solidFill>
              </a:defRPr>
            </a:lvl3pPr>
            <a:lvl4pPr marL="1485854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4pPr>
            <a:lvl5pPr marL="1981139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5pPr>
            <a:lvl6pPr marL="2476424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6pPr>
            <a:lvl7pPr marL="2971709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7pPr>
            <a:lvl8pPr marL="3466993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8pPr>
            <a:lvl9pPr marL="3962278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7939" y="6547380"/>
            <a:ext cx="3136900" cy="10002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>
              <a:defRPr lang="en-US" smtClean="0"/>
            </a:lvl1pPr>
          </a:lstStyle>
          <a:p>
            <a:endParaRPr lang="en-US" dirty="0"/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3292714" y="-7784"/>
            <a:ext cx="146909" cy="6864159"/>
            <a:chOff x="3039428" y="-5838"/>
            <a:chExt cx="135608" cy="5148119"/>
          </a:xfrm>
        </p:grpSpPr>
        <p:sp>
          <p:nvSpPr>
            <p:cNvPr id="13" name="Isosceles Triangle 12"/>
            <p:cNvSpPr/>
            <p:nvPr userDrawn="1"/>
          </p:nvSpPr>
          <p:spPr bwMode="white">
            <a:xfrm rot="5400000">
              <a:off x="2992932" y="2522999"/>
              <a:ext cx="228599" cy="135608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288" dirty="0">
                <a:latin typeface="ＭＳ Ｐゴシック" panose="020B0600070205080204" pitchFamily="50" charset="-128"/>
              </a:endParaRPr>
            </a:p>
          </p:txBody>
        </p:sp>
        <p:sp>
          <p:nvSpPr>
            <p:cNvPr id="16" name="Freeform 5"/>
            <p:cNvSpPr>
              <a:spLocks/>
            </p:cNvSpPr>
            <p:nvPr userDrawn="1"/>
          </p:nvSpPr>
          <p:spPr bwMode="auto">
            <a:xfrm rot="16200000">
              <a:off x="550555" y="2518612"/>
              <a:ext cx="5148119" cy="99220"/>
            </a:xfrm>
            <a:custGeom>
              <a:avLst/>
              <a:gdLst>
                <a:gd name="T0" fmla="*/ 5760 w 5760"/>
                <a:gd name="T1" fmla="*/ 0 h 61"/>
                <a:gd name="T2" fmla="*/ 996 w 5760"/>
                <a:gd name="T3" fmla="*/ 0 h 61"/>
                <a:gd name="T4" fmla="*/ 945 w 5760"/>
                <a:gd name="T5" fmla="*/ 61 h 61"/>
                <a:gd name="T6" fmla="*/ 888 w 5760"/>
                <a:gd name="T7" fmla="*/ 0 h 61"/>
                <a:gd name="T8" fmla="*/ 0 w 5760"/>
                <a:gd name="T9" fmla="*/ 0 h 61"/>
                <a:gd name="connsiteX0" fmla="*/ 8208 w 8208"/>
                <a:gd name="connsiteY0" fmla="*/ 0 h 10246"/>
                <a:gd name="connsiteX1" fmla="*/ 1729 w 8208"/>
                <a:gd name="connsiteY1" fmla="*/ 246 h 10246"/>
                <a:gd name="connsiteX2" fmla="*/ 1641 w 8208"/>
                <a:gd name="connsiteY2" fmla="*/ 10246 h 10246"/>
                <a:gd name="connsiteX3" fmla="*/ 1542 w 8208"/>
                <a:gd name="connsiteY3" fmla="*/ 246 h 10246"/>
                <a:gd name="connsiteX4" fmla="*/ 0 w 8208"/>
                <a:gd name="connsiteY4" fmla="*/ 246 h 10246"/>
                <a:gd name="connsiteX0" fmla="*/ 8265 w 8265"/>
                <a:gd name="connsiteY0" fmla="*/ 0 h 10000"/>
                <a:gd name="connsiteX1" fmla="*/ 2106 w 8265"/>
                <a:gd name="connsiteY1" fmla="*/ 240 h 10000"/>
                <a:gd name="connsiteX2" fmla="*/ 1999 w 8265"/>
                <a:gd name="connsiteY2" fmla="*/ 10000 h 10000"/>
                <a:gd name="connsiteX3" fmla="*/ 1879 w 8265"/>
                <a:gd name="connsiteY3" fmla="*/ 240 h 10000"/>
                <a:gd name="connsiteX4" fmla="*/ 0 w 8265"/>
                <a:gd name="connsiteY4" fmla="*/ 240 h 10000"/>
                <a:gd name="connsiteX0" fmla="*/ 7374 w 7374"/>
                <a:gd name="connsiteY0" fmla="*/ 0 h 10000"/>
                <a:gd name="connsiteX1" fmla="*/ 2548 w 7374"/>
                <a:gd name="connsiteY1" fmla="*/ 240 h 10000"/>
                <a:gd name="connsiteX2" fmla="*/ 2419 w 7374"/>
                <a:gd name="connsiteY2" fmla="*/ 10000 h 10000"/>
                <a:gd name="connsiteX3" fmla="*/ 2273 w 7374"/>
                <a:gd name="connsiteY3" fmla="*/ 240 h 10000"/>
                <a:gd name="connsiteX4" fmla="*/ 0 w 7374"/>
                <a:gd name="connsiteY4" fmla="*/ 240 h 10000"/>
                <a:gd name="connsiteX0" fmla="*/ 8928 w 8928"/>
                <a:gd name="connsiteY0" fmla="*/ 0 h 10240"/>
                <a:gd name="connsiteX1" fmla="*/ 3455 w 8928"/>
                <a:gd name="connsiteY1" fmla="*/ 480 h 10240"/>
                <a:gd name="connsiteX2" fmla="*/ 3280 w 8928"/>
                <a:gd name="connsiteY2" fmla="*/ 10240 h 10240"/>
                <a:gd name="connsiteX3" fmla="*/ 3082 w 8928"/>
                <a:gd name="connsiteY3" fmla="*/ 480 h 10240"/>
                <a:gd name="connsiteX4" fmla="*/ 0 w 8928"/>
                <a:gd name="connsiteY4" fmla="*/ 480 h 10240"/>
                <a:gd name="connsiteX0" fmla="*/ 11411 w 11411"/>
                <a:gd name="connsiteY0" fmla="*/ 0 h 10000"/>
                <a:gd name="connsiteX1" fmla="*/ 5281 w 11411"/>
                <a:gd name="connsiteY1" fmla="*/ 469 h 10000"/>
                <a:gd name="connsiteX2" fmla="*/ 5085 w 11411"/>
                <a:gd name="connsiteY2" fmla="*/ 10000 h 10000"/>
                <a:gd name="connsiteX3" fmla="*/ 4863 w 11411"/>
                <a:gd name="connsiteY3" fmla="*/ 469 h 10000"/>
                <a:gd name="connsiteX4" fmla="*/ 0 w 11411"/>
                <a:gd name="connsiteY4" fmla="*/ 469 h 10000"/>
                <a:gd name="connsiteX0" fmla="*/ 12583 w 12583"/>
                <a:gd name="connsiteY0" fmla="*/ 0 h 10000"/>
                <a:gd name="connsiteX1" fmla="*/ 6453 w 12583"/>
                <a:gd name="connsiteY1" fmla="*/ 469 h 10000"/>
                <a:gd name="connsiteX2" fmla="*/ 6257 w 12583"/>
                <a:gd name="connsiteY2" fmla="*/ 10000 h 10000"/>
                <a:gd name="connsiteX3" fmla="*/ 6035 w 12583"/>
                <a:gd name="connsiteY3" fmla="*/ 469 h 10000"/>
                <a:gd name="connsiteX4" fmla="*/ 0 w 12583"/>
                <a:gd name="connsiteY4" fmla="*/ 469 h 10000"/>
                <a:gd name="connsiteX0" fmla="*/ 12577 w 12577"/>
                <a:gd name="connsiteY0" fmla="*/ 46 h 9577"/>
                <a:gd name="connsiteX1" fmla="*/ 6453 w 12577"/>
                <a:gd name="connsiteY1" fmla="*/ 46 h 9577"/>
                <a:gd name="connsiteX2" fmla="*/ 6257 w 12577"/>
                <a:gd name="connsiteY2" fmla="*/ 9577 h 9577"/>
                <a:gd name="connsiteX3" fmla="*/ 6035 w 12577"/>
                <a:gd name="connsiteY3" fmla="*/ 46 h 9577"/>
                <a:gd name="connsiteX4" fmla="*/ 0 w 12577"/>
                <a:gd name="connsiteY4" fmla="*/ 46 h 9577"/>
                <a:gd name="connsiteX0" fmla="*/ 10023 w 10023"/>
                <a:gd name="connsiteY0" fmla="*/ 0 h 10197"/>
                <a:gd name="connsiteX1" fmla="*/ 5131 w 10023"/>
                <a:gd name="connsiteY1" fmla="*/ 245 h 10197"/>
                <a:gd name="connsiteX2" fmla="*/ 4975 w 10023"/>
                <a:gd name="connsiteY2" fmla="*/ 10197 h 10197"/>
                <a:gd name="connsiteX3" fmla="*/ 4798 w 10023"/>
                <a:gd name="connsiteY3" fmla="*/ 245 h 10197"/>
                <a:gd name="connsiteX4" fmla="*/ 0 w 10023"/>
                <a:gd name="connsiteY4" fmla="*/ 245 h 10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23" h="10197">
                  <a:moveTo>
                    <a:pt x="10023" y="0"/>
                  </a:moveTo>
                  <a:cubicBezTo>
                    <a:pt x="8399" y="163"/>
                    <a:pt x="6755" y="82"/>
                    <a:pt x="5131" y="245"/>
                  </a:cubicBezTo>
                  <a:cubicBezTo>
                    <a:pt x="5080" y="3562"/>
                    <a:pt x="5027" y="6880"/>
                    <a:pt x="4975" y="10197"/>
                  </a:cubicBezTo>
                  <a:cubicBezTo>
                    <a:pt x="4916" y="6880"/>
                    <a:pt x="4858" y="3562"/>
                    <a:pt x="4798" y="245"/>
                  </a:cubicBezTo>
                  <a:lnTo>
                    <a:pt x="0" y="245"/>
                  </a:lnTo>
                </a:path>
              </a:pathLst>
            </a:custGeom>
            <a:noFill/>
            <a:ln w="7938" cap="rnd">
              <a:solidFill>
                <a:srgbClr val="E1301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288" dirty="0">
                <a:latin typeface="ＭＳ Ｐゴシック" panose="020B0600070205080204" pitchFamily="50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5345602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xperience Photo"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906000" cy="6858000"/>
          </a:xfrm>
          <a:noFill/>
          <a:ln>
            <a:noFill/>
          </a:ln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333160" y="2958545"/>
            <a:ext cx="9239682" cy="533544"/>
          </a:xfrm>
        </p:spPr>
        <p:txBody>
          <a:bodyPr anchor="t"/>
          <a:lstStyle>
            <a:lvl1pPr algn="ctr">
              <a:defRPr sz="3467" b="0" cap="none">
                <a:solidFill>
                  <a:schemeClr val="bg1"/>
                </a:solidFill>
                <a:latin typeface="ＭＳ Ｐゴシック" panose="020B0600070205080204" pitchFamily="50" charset="-128"/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7939" y="6547380"/>
            <a:ext cx="3136900" cy="10002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marL="0" algn="l" defTabSz="990570" rtl="0" eaLnBrk="1" latinLnBrk="0" hangingPunct="1">
              <a:defRPr lang="en-US" sz="650" kern="1200" smtClean="0">
                <a:solidFill>
                  <a:schemeClr val="bg1"/>
                </a:solidFill>
                <a:latin typeface="ＭＳ Ｐゴシック" panose="020B0600070205080204" pitchFamily="50" charset="-128"/>
                <a:ea typeface="+mn-ea"/>
                <a:cs typeface="+mn-cs"/>
              </a:defRPr>
            </a:lvl1pPr>
          </a:lstStyle>
          <a:p>
            <a:endParaRPr lang="ja-JP" alt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337940" y="6401048"/>
            <a:ext cx="2773163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650" dirty="0">
                <a:solidFill>
                  <a:schemeClr val="bg1"/>
                </a:solidFill>
                <a:latin typeface="ＭＳ Ｐゴシック" panose="020B0600070205080204" pitchFamily="50" charset="-128"/>
              </a:rPr>
              <a:t>PwC’s Digital</a:t>
            </a:r>
            <a:r>
              <a:rPr lang="en-US" sz="650" baseline="0" dirty="0">
                <a:solidFill>
                  <a:schemeClr val="bg1"/>
                </a:solidFill>
                <a:latin typeface="ＭＳ Ｐゴシック" panose="020B0600070205080204" pitchFamily="50" charset="-128"/>
              </a:rPr>
              <a:t> Services</a:t>
            </a:r>
            <a:endParaRPr lang="en-US" sz="650" dirty="0">
              <a:solidFill>
                <a:schemeClr val="bg1"/>
              </a:solidFill>
              <a:latin typeface="ＭＳ Ｐゴシック" panose="020B0600070205080204" pitchFamily="50" charset="-128"/>
            </a:endParaRP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 rot="16200000">
            <a:off x="4953000" y="2492682"/>
            <a:ext cx="0" cy="616546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2"/>
          <p:cNvSpPr>
            <a:spLocks noGrp="1"/>
          </p:cNvSpPr>
          <p:nvPr>
            <p:ph type="body" idx="1"/>
          </p:nvPr>
        </p:nvSpPr>
        <p:spPr bwMode="white">
          <a:xfrm>
            <a:off x="742950" y="2264428"/>
            <a:ext cx="8420100" cy="233462"/>
          </a:xfrm>
        </p:spPr>
        <p:txBody>
          <a:bodyPr anchor="t" anchorCtr="0"/>
          <a:lstStyle>
            <a:lvl1pPr marL="0" indent="0" algn="ctr">
              <a:buNone/>
              <a:defRPr sz="1517">
                <a:solidFill>
                  <a:schemeClr val="bg1"/>
                </a:solidFill>
                <a:latin typeface="ＭＳ Ｐゴシック" panose="020B0600070205080204" pitchFamily="50" charset="-128"/>
              </a:defRPr>
            </a:lvl1pPr>
            <a:lvl2pPr marL="495285" indent="0">
              <a:buNone/>
              <a:defRPr sz="1950">
                <a:solidFill>
                  <a:schemeClr val="tx1">
                    <a:tint val="75000"/>
                  </a:schemeClr>
                </a:solidFill>
              </a:defRPr>
            </a:lvl2pPr>
            <a:lvl3pPr marL="990570" indent="0">
              <a:buNone/>
              <a:defRPr sz="1733">
                <a:solidFill>
                  <a:schemeClr val="tx1">
                    <a:tint val="75000"/>
                  </a:schemeClr>
                </a:solidFill>
              </a:defRPr>
            </a:lvl3pPr>
            <a:lvl4pPr marL="1485854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4pPr>
            <a:lvl5pPr marL="1981139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5pPr>
            <a:lvl6pPr marL="2476424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6pPr>
            <a:lvl7pPr marL="2971709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7pPr>
            <a:lvl8pPr marL="3466993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8pPr>
            <a:lvl9pPr marL="3962278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168940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31553658"/>
      </p:ext>
    </p:extLst>
  </p:cSld>
  <p:clrMapOvr>
    <a:masterClrMapping/>
  </p:clrMapOvr>
  <p:hf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xperienc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Isosceles Triangle 7"/>
          <p:cNvSpPr/>
          <p:nvPr userDrawn="1"/>
        </p:nvSpPr>
        <p:spPr bwMode="ltGray">
          <a:xfrm rot="5400000">
            <a:off x="-892126" y="892127"/>
            <a:ext cx="6858001" cy="5073747"/>
          </a:xfrm>
          <a:custGeom>
            <a:avLst/>
            <a:gdLst>
              <a:gd name="connsiteX0" fmla="*/ 0 w 5143501"/>
              <a:gd name="connsiteY0" fmla="*/ 4683459 h 4683459"/>
              <a:gd name="connsiteX1" fmla="*/ 0 w 5143501"/>
              <a:gd name="connsiteY1" fmla="*/ 101289 h 4683459"/>
              <a:gd name="connsiteX2" fmla="*/ 2503420 w 5143501"/>
              <a:gd name="connsiteY2" fmla="*/ 98908 h 4683459"/>
              <a:gd name="connsiteX3" fmla="*/ 2583072 w 5143501"/>
              <a:gd name="connsiteY3" fmla="*/ 0 h 4683459"/>
              <a:gd name="connsiteX4" fmla="*/ 2688919 w 5143501"/>
              <a:gd name="connsiteY4" fmla="*/ 101289 h 4683459"/>
              <a:gd name="connsiteX5" fmla="*/ 5143501 w 5143501"/>
              <a:gd name="connsiteY5" fmla="*/ 101289 h 4683459"/>
              <a:gd name="connsiteX6" fmla="*/ 5143501 w 5143501"/>
              <a:gd name="connsiteY6" fmla="*/ 4683459 h 4683459"/>
              <a:gd name="connsiteX7" fmla="*/ 0 w 5143501"/>
              <a:gd name="connsiteY7" fmla="*/ 4683459 h 46834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143501" h="4683459">
                <a:moveTo>
                  <a:pt x="0" y="4683459"/>
                </a:moveTo>
                <a:lnTo>
                  <a:pt x="0" y="101289"/>
                </a:lnTo>
                <a:lnTo>
                  <a:pt x="2503420" y="98908"/>
                </a:lnTo>
                <a:lnTo>
                  <a:pt x="2583072" y="0"/>
                </a:lnTo>
                <a:lnTo>
                  <a:pt x="2688919" y="101289"/>
                </a:lnTo>
                <a:lnTo>
                  <a:pt x="5143501" y="101289"/>
                </a:lnTo>
                <a:lnTo>
                  <a:pt x="5143501" y="4683459"/>
                </a:lnTo>
                <a:lnTo>
                  <a:pt x="0" y="468345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288" dirty="0">
              <a:latin typeface="ＭＳ Ｐゴシック" panose="020B0600070205080204" pitchFamily="50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52261" y="2647073"/>
            <a:ext cx="3679372" cy="1067087"/>
          </a:xfrm>
        </p:spPr>
        <p:txBody>
          <a:bodyPr anchor="t"/>
          <a:lstStyle>
            <a:lvl1pPr algn="ctr">
              <a:lnSpc>
                <a:spcPct val="100000"/>
              </a:lnSpc>
              <a:defRPr sz="3467" b="0" cap="none">
                <a:solidFill>
                  <a:schemeClr val="bg2"/>
                </a:solidFill>
                <a:latin typeface="ＭＳ Ｐゴシック" panose="020B0600070205080204" pitchFamily="50" charset="-128"/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24267" y="4580283"/>
            <a:ext cx="2648757" cy="183320"/>
          </a:xfrm>
        </p:spPr>
        <p:txBody>
          <a:bodyPr anchor="t" anchorCtr="0"/>
          <a:lstStyle>
            <a:lvl1pPr marL="127261" indent="-127261" algn="ctr">
              <a:lnSpc>
                <a:spcPct val="110000"/>
              </a:lnSpc>
              <a:spcBef>
                <a:spcPts val="650"/>
              </a:spcBef>
              <a:buFont typeface="Wingdings" panose="05000000000000000000" pitchFamily="2" charset="2"/>
              <a:buChar char="§"/>
              <a:defRPr sz="1083" cap="none" baseline="0">
                <a:solidFill>
                  <a:schemeClr val="bg2"/>
                </a:solidFill>
                <a:latin typeface="ＭＳ Ｐゴシック" panose="020B0600070205080204" pitchFamily="50" charset="-128"/>
              </a:defRPr>
            </a:lvl1pPr>
            <a:lvl2pPr marL="495285" indent="0">
              <a:buNone/>
              <a:defRPr sz="1950">
                <a:solidFill>
                  <a:schemeClr val="tx1">
                    <a:tint val="75000"/>
                  </a:schemeClr>
                </a:solidFill>
              </a:defRPr>
            </a:lvl2pPr>
            <a:lvl3pPr marL="990570" indent="0">
              <a:buNone/>
              <a:defRPr sz="1733">
                <a:solidFill>
                  <a:schemeClr val="tx1">
                    <a:tint val="75000"/>
                  </a:schemeClr>
                </a:solidFill>
              </a:defRPr>
            </a:lvl3pPr>
            <a:lvl4pPr marL="1485854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4pPr>
            <a:lvl5pPr marL="1981139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5pPr>
            <a:lvl6pPr marL="2476424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6pPr>
            <a:lvl7pPr marL="2971709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7pPr>
            <a:lvl8pPr marL="3466993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8pPr>
            <a:lvl9pPr marL="3962278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7939" y="6547380"/>
            <a:ext cx="3136900" cy="10002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>
              <a:defRPr lang="en-US" smtClean="0"/>
            </a:lvl1pPr>
          </a:lstStyle>
          <a:p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337940" y="6401048"/>
            <a:ext cx="2773163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650" dirty="0">
                <a:solidFill>
                  <a:schemeClr val="tx1"/>
                </a:solidFill>
                <a:latin typeface="ＭＳ Ｐゴシック" panose="020B0600070205080204" pitchFamily="50" charset="-128"/>
              </a:rPr>
              <a:t>PwC’s Digital</a:t>
            </a:r>
            <a:r>
              <a:rPr lang="en-US" sz="650" baseline="0" dirty="0">
                <a:solidFill>
                  <a:schemeClr val="tx1"/>
                </a:solidFill>
                <a:latin typeface="ＭＳ Ｐゴシック" panose="020B0600070205080204" pitchFamily="50" charset="-128"/>
              </a:rPr>
              <a:t> Services</a:t>
            </a:r>
            <a:endParaRPr lang="en-US" sz="650" dirty="0">
              <a:solidFill>
                <a:schemeClr val="tx1"/>
              </a:solidFill>
              <a:latin typeface="ＭＳ Ｐゴシック" panose="020B0600070205080204" pitchFamily="50" charset="-128"/>
            </a:endParaRPr>
          </a:p>
        </p:txBody>
      </p:sp>
      <p:sp>
        <p:nvSpPr>
          <p:cNvPr id="13" name="Text Placeholder 2"/>
          <p:cNvSpPr>
            <a:spLocks noGrp="1"/>
          </p:cNvSpPr>
          <p:nvPr>
            <p:ph type="body" idx="13"/>
          </p:nvPr>
        </p:nvSpPr>
        <p:spPr>
          <a:xfrm>
            <a:off x="1201923" y="1216027"/>
            <a:ext cx="2648757" cy="733662"/>
          </a:xfrm>
        </p:spPr>
        <p:txBody>
          <a:bodyPr anchor="t" anchorCtr="0"/>
          <a:lstStyle>
            <a:lvl1pPr marL="0" indent="0" algn="ctr">
              <a:lnSpc>
                <a:spcPct val="110000"/>
              </a:lnSpc>
              <a:spcBef>
                <a:spcPts val="650"/>
              </a:spcBef>
              <a:buNone/>
              <a:defRPr sz="2167" cap="none" baseline="0">
                <a:solidFill>
                  <a:schemeClr val="bg2"/>
                </a:solidFill>
                <a:latin typeface="ＭＳ Ｐゴシック" panose="020B0600070205080204" pitchFamily="50" charset="-128"/>
              </a:defRPr>
            </a:lvl1pPr>
            <a:lvl2pPr marL="495285" indent="0">
              <a:buNone/>
              <a:defRPr sz="1950">
                <a:solidFill>
                  <a:schemeClr val="tx1">
                    <a:tint val="75000"/>
                  </a:schemeClr>
                </a:solidFill>
              </a:defRPr>
            </a:lvl2pPr>
            <a:lvl3pPr marL="990570" indent="0">
              <a:buNone/>
              <a:defRPr sz="1733">
                <a:solidFill>
                  <a:schemeClr val="tx1">
                    <a:tint val="75000"/>
                  </a:schemeClr>
                </a:solidFill>
              </a:defRPr>
            </a:lvl3pPr>
            <a:lvl4pPr marL="1485854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4pPr>
            <a:lvl5pPr marL="1981139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5pPr>
            <a:lvl6pPr marL="2476424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6pPr>
            <a:lvl7pPr marL="2971709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7pPr>
            <a:lvl8pPr marL="3466993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8pPr>
            <a:lvl9pPr marL="3962278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idx="14"/>
          </p:nvPr>
        </p:nvSpPr>
        <p:spPr>
          <a:xfrm>
            <a:off x="6120017" y="4580283"/>
            <a:ext cx="2648757" cy="183320"/>
          </a:xfrm>
        </p:spPr>
        <p:txBody>
          <a:bodyPr anchor="t" anchorCtr="0"/>
          <a:lstStyle>
            <a:lvl1pPr marL="127261" indent="-127261" algn="ctr">
              <a:lnSpc>
                <a:spcPct val="110000"/>
              </a:lnSpc>
              <a:spcBef>
                <a:spcPts val="650"/>
              </a:spcBef>
              <a:buFont typeface="Wingdings" panose="05000000000000000000" pitchFamily="2" charset="2"/>
              <a:buChar char="§"/>
              <a:defRPr sz="1083" cap="none" baseline="0">
                <a:solidFill>
                  <a:schemeClr val="tx1"/>
                </a:solidFill>
                <a:latin typeface="ＭＳ Ｐゴシック" panose="020B0600070205080204" pitchFamily="50" charset="-128"/>
              </a:defRPr>
            </a:lvl1pPr>
            <a:lvl2pPr marL="495285" indent="0">
              <a:buNone/>
              <a:defRPr sz="1950">
                <a:solidFill>
                  <a:schemeClr val="tx1">
                    <a:tint val="75000"/>
                  </a:schemeClr>
                </a:solidFill>
              </a:defRPr>
            </a:lvl2pPr>
            <a:lvl3pPr marL="990570" indent="0">
              <a:buNone/>
              <a:defRPr sz="1733">
                <a:solidFill>
                  <a:schemeClr val="tx1">
                    <a:tint val="75000"/>
                  </a:schemeClr>
                </a:solidFill>
              </a:defRPr>
            </a:lvl3pPr>
            <a:lvl4pPr marL="1485854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4pPr>
            <a:lvl5pPr marL="1981139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5pPr>
            <a:lvl6pPr marL="2476424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6pPr>
            <a:lvl7pPr marL="2971709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7pPr>
            <a:lvl8pPr marL="3466993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8pPr>
            <a:lvl9pPr marL="3962278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idx="15"/>
          </p:nvPr>
        </p:nvSpPr>
        <p:spPr>
          <a:xfrm>
            <a:off x="6120017" y="1216027"/>
            <a:ext cx="2648757" cy="733662"/>
          </a:xfrm>
        </p:spPr>
        <p:txBody>
          <a:bodyPr anchor="t" anchorCtr="0"/>
          <a:lstStyle>
            <a:lvl1pPr marL="0" indent="0" algn="ctr">
              <a:lnSpc>
                <a:spcPct val="110000"/>
              </a:lnSpc>
              <a:spcBef>
                <a:spcPts val="650"/>
              </a:spcBef>
              <a:buNone/>
              <a:defRPr sz="2167" cap="none" baseline="0">
                <a:solidFill>
                  <a:schemeClr val="tx1"/>
                </a:solidFill>
                <a:latin typeface="ＭＳ Ｐゴシック" panose="020B0600070205080204" pitchFamily="50" charset="-128"/>
              </a:defRPr>
            </a:lvl1pPr>
            <a:lvl2pPr marL="495285" indent="0">
              <a:buNone/>
              <a:defRPr sz="1950">
                <a:solidFill>
                  <a:schemeClr val="tx1">
                    <a:tint val="75000"/>
                  </a:schemeClr>
                </a:solidFill>
              </a:defRPr>
            </a:lvl2pPr>
            <a:lvl3pPr marL="990570" indent="0">
              <a:buNone/>
              <a:defRPr sz="1733">
                <a:solidFill>
                  <a:schemeClr val="tx1">
                    <a:tint val="75000"/>
                  </a:schemeClr>
                </a:solidFill>
              </a:defRPr>
            </a:lvl3pPr>
            <a:lvl4pPr marL="1485854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4pPr>
            <a:lvl5pPr marL="1981139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5pPr>
            <a:lvl6pPr marL="2476424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6pPr>
            <a:lvl7pPr marL="2971709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7pPr>
            <a:lvl8pPr marL="3466993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8pPr>
            <a:lvl9pPr marL="3962278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type="body" idx="16" hasCustomPrompt="1"/>
          </p:nvPr>
        </p:nvSpPr>
        <p:spPr>
          <a:xfrm>
            <a:off x="5548850" y="2647073"/>
            <a:ext cx="3791094" cy="1067087"/>
          </a:xfrm>
        </p:spPr>
        <p:txBody>
          <a:bodyPr anchor="t" anchorCtr="0"/>
          <a:lstStyle>
            <a:lvl1pPr marL="0" indent="0" algn="ctr" defTabSz="99057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467" b="0" kern="1200" cap="none" dirty="0" smtClean="0">
                <a:solidFill>
                  <a:schemeClr val="tx1"/>
                </a:solidFill>
                <a:latin typeface="ＭＳ Ｐゴシック" panose="020B0600070205080204" pitchFamily="50" charset="-128"/>
                <a:ea typeface="+mj-ea"/>
                <a:cs typeface="+mj-cs"/>
              </a:defRPr>
            </a:lvl1pPr>
            <a:lvl2pPr marL="495285" indent="0">
              <a:buNone/>
              <a:defRPr sz="1950">
                <a:solidFill>
                  <a:schemeClr val="tx1">
                    <a:tint val="75000"/>
                  </a:schemeClr>
                </a:solidFill>
              </a:defRPr>
            </a:lvl2pPr>
            <a:lvl3pPr marL="990570" indent="0">
              <a:buNone/>
              <a:defRPr sz="1733">
                <a:solidFill>
                  <a:schemeClr val="tx1">
                    <a:tint val="75000"/>
                  </a:schemeClr>
                </a:solidFill>
              </a:defRPr>
            </a:lvl3pPr>
            <a:lvl4pPr marL="1485854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4pPr>
            <a:lvl5pPr marL="1981139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5pPr>
            <a:lvl6pPr marL="2476424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6pPr>
            <a:lvl7pPr marL="2971709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7pPr>
            <a:lvl8pPr marL="3466993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8pPr>
            <a:lvl9pPr marL="3962278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itle</a:t>
            </a:r>
          </a:p>
        </p:txBody>
      </p:sp>
      <p:cxnSp>
        <p:nvCxnSpPr>
          <p:cNvPr id="22" name="Straight Connector 21"/>
          <p:cNvCxnSpPr/>
          <p:nvPr userDrawn="1"/>
        </p:nvCxnSpPr>
        <p:spPr bwMode="white">
          <a:xfrm rot="16200000">
            <a:off x="2492350" y="2071936"/>
            <a:ext cx="0" cy="616546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 bwMode="white">
          <a:xfrm rot="16200000">
            <a:off x="7456481" y="2071938"/>
            <a:ext cx="0" cy="616546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 userDrawn="1"/>
        </p:nvCxnSpPr>
        <p:spPr bwMode="white">
          <a:xfrm rot="16200000">
            <a:off x="2492350" y="3907586"/>
            <a:ext cx="0" cy="616546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 userDrawn="1"/>
        </p:nvCxnSpPr>
        <p:spPr bwMode="white">
          <a:xfrm rot="16200000">
            <a:off x="7456481" y="3907587"/>
            <a:ext cx="0" cy="616546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Freeform 5"/>
          <p:cNvSpPr>
            <a:spLocks/>
          </p:cNvSpPr>
          <p:nvPr userDrawn="1"/>
        </p:nvSpPr>
        <p:spPr bwMode="auto">
          <a:xfrm rot="16200000">
            <a:off x="1593054" y="3375505"/>
            <a:ext cx="6851673" cy="110068"/>
          </a:xfrm>
          <a:custGeom>
            <a:avLst/>
            <a:gdLst>
              <a:gd name="T0" fmla="*/ 5760 w 5760"/>
              <a:gd name="T1" fmla="*/ 0 h 61"/>
              <a:gd name="T2" fmla="*/ 996 w 5760"/>
              <a:gd name="T3" fmla="*/ 0 h 61"/>
              <a:gd name="T4" fmla="*/ 945 w 5760"/>
              <a:gd name="T5" fmla="*/ 61 h 61"/>
              <a:gd name="T6" fmla="*/ 888 w 5760"/>
              <a:gd name="T7" fmla="*/ 0 h 61"/>
              <a:gd name="T8" fmla="*/ 0 w 5760"/>
              <a:gd name="T9" fmla="*/ 0 h 61"/>
              <a:gd name="connsiteX0" fmla="*/ 8208 w 8208"/>
              <a:gd name="connsiteY0" fmla="*/ 0 h 10246"/>
              <a:gd name="connsiteX1" fmla="*/ 1729 w 8208"/>
              <a:gd name="connsiteY1" fmla="*/ 246 h 10246"/>
              <a:gd name="connsiteX2" fmla="*/ 1641 w 8208"/>
              <a:gd name="connsiteY2" fmla="*/ 10246 h 10246"/>
              <a:gd name="connsiteX3" fmla="*/ 1542 w 8208"/>
              <a:gd name="connsiteY3" fmla="*/ 246 h 10246"/>
              <a:gd name="connsiteX4" fmla="*/ 0 w 8208"/>
              <a:gd name="connsiteY4" fmla="*/ 246 h 10246"/>
              <a:gd name="connsiteX0" fmla="*/ 8265 w 8265"/>
              <a:gd name="connsiteY0" fmla="*/ 0 h 10000"/>
              <a:gd name="connsiteX1" fmla="*/ 2106 w 8265"/>
              <a:gd name="connsiteY1" fmla="*/ 240 h 10000"/>
              <a:gd name="connsiteX2" fmla="*/ 1999 w 8265"/>
              <a:gd name="connsiteY2" fmla="*/ 10000 h 10000"/>
              <a:gd name="connsiteX3" fmla="*/ 1879 w 8265"/>
              <a:gd name="connsiteY3" fmla="*/ 240 h 10000"/>
              <a:gd name="connsiteX4" fmla="*/ 0 w 8265"/>
              <a:gd name="connsiteY4" fmla="*/ 240 h 10000"/>
              <a:gd name="connsiteX0" fmla="*/ 7374 w 7374"/>
              <a:gd name="connsiteY0" fmla="*/ 0 h 10000"/>
              <a:gd name="connsiteX1" fmla="*/ 2548 w 7374"/>
              <a:gd name="connsiteY1" fmla="*/ 240 h 10000"/>
              <a:gd name="connsiteX2" fmla="*/ 2419 w 7374"/>
              <a:gd name="connsiteY2" fmla="*/ 10000 h 10000"/>
              <a:gd name="connsiteX3" fmla="*/ 2273 w 7374"/>
              <a:gd name="connsiteY3" fmla="*/ 240 h 10000"/>
              <a:gd name="connsiteX4" fmla="*/ 0 w 7374"/>
              <a:gd name="connsiteY4" fmla="*/ 240 h 10000"/>
              <a:gd name="connsiteX0" fmla="*/ 8928 w 8928"/>
              <a:gd name="connsiteY0" fmla="*/ 0 h 10240"/>
              <a:gd name="connsiteX1" fmla="*/ 3455 w 8928"/>
              <a:gd name="connsiteY1" fmla="*/ 480 h 10240"/>
              <a:gd name="connsiteX2" fmla="*/ 3280 w 8928"/>
              <a:gd name="connsiteY2" fmla="*/ 10240 h 10240"/>
              <a:gd name="connsiteX3" fmla="*/ 3082 w 8928"/>
              <a:gd name="connsiteY3" fmla="*/ 480 h 10240"/>
              <a:gd name="connsiteX4" fmla="*/ 0 w 8928"/>
              <a:gd name="connsiteY4" fmla="*/ 480 h 10240"/>
              <a:gd name="connsiteX0" fmla="*/ 11411 w 11411"/>
              <a:gd name="connsiteY0" fmla="*/ 0 h 10000"/>
              <a:gd name="connsiteX1" fmla="*/ 5281 w 11411"/>
              <a:gd name="connsiteY1" fmla="*/ 469 h 10000"/>
              <a:gd name="connsiteX2" fmla="*/ 5085 w 11411"/>
              <a:gd name="connsiteY2" fmla="*/ 10000 h 10000"/>
              <a:gd name="connsiteX3" fmla="*/ 4863 w 11411"/>
              <a:gd name="connsiteY3" fmla="*/ 469 h 10000"/>
              <a:gd name="connsiteX4" fmla="*/ 0 w 11411"/>
              <a:gd name="connsiteY4" fmla="*/ 469 h 10000"/>
              <a:gd name="connsiteX0" fmla="*/ 12583 w 12583"/>
              <a:gd name="connsiteY0" fmla="*/ 0 h 10000"/>
              <a:gd name="connsiteX1" fmla="*/ 6453 w 12583"/>
              <a:gd name="connsiteY1" fmla="*/ 469 h 10000"/>
              <a:gd name="connsiteX2" fmla="*/ 6257 w 12583"/>
              <a:gd name="connsiteY2" fmla="*/ 10000 h 10000"/>
              <a:gd name="connsiteX3" fmla="*/ 6035 w 12583"/>
              <a:gd name="connsiteY3" fmla="*/ 469 h 10000"/>
              <a:gd name="connsiteX4" fmla="*/ 0 w 12583"/>
              <a:gd name="connsiteY4" fmla="*/ 469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583" h="10000">
                <a:moveTo>
                  <a:pt x="12583" y="0"/>
                </a:moveTo>
                <a:lnTo>
                  <a:pt x="6453" y="469"/>
                </a:lnTo>
                <a:cubicBezTo>
                  <a:pt x="6389" y="3646"/>
                  <a:pt x="6323" y="6823"/>
                  <a:pt x="6257" y="10000"/>
                </a:cubicBezTo>
                <a:cubicBezTo>
                  <a:pt x="6183" y="6823"/>
                  <a:pt x="6110" y="3646"/>
                  <a:pt x="6035" y="469"/>
                </a:cubicBezTo>
                <a:lnTo>
                  <a:pt x="0" y="469"/>
                </a:lnTo>
              </a:path>
            </a:pathLst>
          </a:custGeom>
          <a:noFill/>
          <a:ln w="7938" cap="rnd">
            <a:solidFill>
              <a:srgbClr val="E1301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9060" tIns="49530" rIns="99060" bIns="49530" numCol="1" anchor="t" anchorCtr="0" compatLnSpc="1">
            <a:prstTxWarp prst="textNoShape">
              <a:avLst/>
            </a:prstTxWarp>
          </a:bodyPr>
          <a:lstStyle/>
          <a:p>
            <a:endParaRPr lang="en-US" sz="2288" dirty="0">
              <a:latin typeface="ＭＳ Ｐゴシック" panose="020B060007020508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82920666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xperience 3"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Picture Placeholder 8"/>
          <p:cNvSpPr>
            <a:spLocks noGrp="1"/>
          </p:cNvSpPr>
          <p:nvPr>
            <p:ph type="pic" sz="quarter" idx="15"/>
          </p:nvPr>
        </p:nvSpPr>
        <p:spPr>
          <a:xfrm>
            <a:off x="3323732" y="2285563"/>
            <a:ext cx="3284621" cy="2282563"/>
          </a:xfrm>
          <a:noFill/>
          <a:ln>
            <a:noFill/>
          </a:ln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2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3323732" y="0"/>
            <a:ext cx="3284621" cy="2282563"/>
          </a:xfrm>
          <a:noFill/>
          <a:ln>
            <a:noFill/>
          </a:ln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4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3323732" y="4571124"/>
            <a:ext cx="3284621" cy="2282563"/>
          </a:xfrm>
          <a:noFill/>
          <a:ln>
            <a:noFill/>
          </a:ln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11477" y="2151851"/>
            <a:ext cx="2899626" cy="293350"/>
          </a:xfrm>
        </p:spPr>
        <p:txBody>
          <a:bodyPr anchor="t"/>
          <a:lstStyle>
            <a:lvl1pPr algn="ctr">
              <a:lnSpc>
                <a:spcPct val="110000"/>
              </a:lnSpc>
              <a:defRPr sz="1733" b="0" cap="none">
                <a:solidFill>
                  <a:schemeClr val="bg1"/>
                </a:solidFill>
                <a:latin typeface="ＭＳ Ｐゴシック" panose="020B0600070205080204" pitchFamily="50" charset="-128"/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0346" y="4648720"/>
            <a:ext cx="2910756" cy="139975"/>
          </a:xfrm>
        </p:spPr>
        <p:txBody>
          <a:bodyPr anchor="t" anchorCtr="0"/>
          <a:lstStyle>
            <a:lvl1pPr marL="0" indent="0" algn="ctr">
              <a:lnSpc>
                <a:spcPct val="120000"/>
              </a:lnSpc>
              <a:spcBef>
                <a:spcPts val="0"/>
              </a:spcBef>
              <a:buFont typeface="Wingdings" panose="05000000000000000000" pitchFamily="2" charset="2"/>
              <a:buNone/>
              <a:defRPr sz="758" b="1" kern="0" cap="all" spc="0" baseline="0">
                <a:solidFill>
                  <a:schemeClr val="bg1"/>
                </a:solidFill>
              </a:defRPr>
            </a:lvl1pPr>
            <a:lvl2pPr marL="495285" indent="0">
              <a:buNone/>
              <a:defRPr sz="1950">
                <a:solidFill>
                  <a:schemeClr val="tx1">
                    <a:tint val="75000"/>
                  </a:schemeClr>
                </a:solidFill>
              </a:defRPr>
            </a:lvl2pPr>
            <a:lvl3pPr marL="990570" indent="0">
              <a:buNone/>
              <a:defRPr sz="1733">
                <a:solidFill>
                  <a:schemeClr val="tx1">
                    <a:tint val="75000"/>
                  </a:schemeClr>
                </a:solidFill>
              </a:defRPr>
            </a:lvl3pPr>
            <a:lvl4pPr marL="1485854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4pPr>
            <a:lvl5pPr marL="1981139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5pPr>
            <a:lvl6pPr marL="2476424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6pPr>
            <a:lvl7pPr marL="2971709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7pPr>
            <a:lvl8pPr marL="3466993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8pPr>
            <a:lvl9pPr marL="3962278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7939" y="6547380"/>
            <a:ext cx="3136900" cy="10002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marL="0" algn="l" defTabSz="990570" rtl="0" eaLnBrk="1" latinLnBrk="0" hangingPunct="1">
              <a:defRPr lang="en-US" sz="650" kern="1200" smtClean="0">
                <a:solidFill>
                  <a:schemeClr val="bg1"/>
                </a:solidFill>
                <a:latin typeface="ＭＳ Ｐゴシック" panose="020B0600070205080204" pitchFamily="50" charset="-128"/>
                <a:ea typeface="+mn-ea"/>
                <a:cs typeface="+mn-cs"/>
              </a:defRPr>
            </a:lvl1pPr>
          </a:lstStyle>
          <a:p>
            <a:endParaRPr lang="ja-JP" alt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337940" y="6401048"/>
            <a:ext cx="2773163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650" dirty="0">
                <a:solidFill>
                  <a:schemeClr val="bg1"/>
                </a:solidFill>
                <a:latin typeface="ＭＳ Ｐゴシック" panose="020B0600070205080204" pitchFamily="50" charset="-128"/>
              </a:rPr>
              <a:t>PwC’s Digital</a:t>
            </a:r>
            <a:r>
              <a:rPr lang="en-US" sz="650" baseline="0" dirty="0">
                <a:solidFill>
                  <a:schemeClr val="bg1"/>
                </a:solidFill>
                <a:latin typeface="ＭＳ Ｐゴシック" panose="020B0600070205080204" pitchFamily="50" charset="-128"/>
              </a:rPr>
              <a:t> Services</a:t>
            </a:r>
            <a:endParaRPr lang="en-US" sz="650" dirty="0">
              <a:solidFill>
                <a:schemeClr val="bg1"/>
              </a:solidFill>
              <a:latin typeface="ＭＳ Ｐゴシック" panose="020B0600070205080204" pitchFamily="50" charset="-128"/>
            </a:endParaRPr>
          </a:p>
        </p:txBody>
      </p:sp>
      <p:sp>
        <p:nvSpPr>
          <p:cNvPr id="14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6601955" y="0"/>
            <a:ext cx="3304045" cy="6858000"/>
          </a:xfrm>
          <a:noFill/>
          <a:ln>
            <a:noFill/>
          </a:ln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 rot="16200000">
            <a:off x="-42126" y="3375505"/>
            <a:ext cx="6851673" cy="110068"/>
          </a:xfrm>
          <a:custGeom>
            <a:avLst/>
            <a:gdLst>
              <a:gd name="T0" fmla="*/ 5760 w 5760"/>
              <a:gd name="T1" fmla="*/ 0 h 61"/>
              <a:gd name="T2" fmla="*/ 996 w 5760"/>
              <a:gd name="T3" fmla="*/ 0 h 61"/>
              <a:gd name="T4" fmla="*/ 945 w 5760"/>
              <a:gd name="T5" fmla="*/ 61 h 61"/>
              <a:gd name="T6" fmla="*/ 888 w 5760"/>
              <a:gd name="T7" fmla="*/ 0 h 61"/>
              <a:gd name="T8" fmla="*/ 0 w 5760"/>
              <a:gd name="T9" fmla="*/ 0 h 61"/>
              <a:gd name="connsiteX0" fmla="*/ 8208 w 8208"/>
              <a:gd name="connsiteY0" fmla="*/ 0 h 10246"/>
              <a:gd name="connsiteX1" fmla="*/ 1729 w 8208"/>
              <a:gd name="connsiteY1" fmla="*/ 246 h 10246"/>
              <a:gd name="connsiteX2" fmla="*/ 1641 w 8208"/>
              <a:gd name="connsiteY2" fmla="*/ 10246 h 10246"/>
              <a:gd name="connsiteX3" fmla="*/ 1542 w 8208"/>
              <a:gd name="connsiteY3" fmla="*/ 246 h 10246"/>
              <a:gd name="connsiteX4" fmla="*/ 0 w 8208"/>
              <a:gd name="connsiteY4" fmla="*/ 246 h 10246"/>
              <a:gd name="connsiteX0" fmla="*/ 8265 w 8265"/>
              <a:gd name="connsiteY0" fmla="*/ 0 h 10000"/>
              <a:gd name="connsiteX1" fmla="*/ 2106 w 8265"/>
              <a:gd name="connsiteY1" fmla="*/ 240 h 10000"/>
              <a:gd name="connsiteX2" fmla="*/ 1999 w 8265"/>
              <a:gd name="connsiteY2" fmla="*/ 10000 h 10000"/>
              <a:gd name="connsiteX3" fmla="*/ 1879 w 8265"/>
              <a:gd name="connsiteY3" fmla="*/ 240 h 10000"/>
              <a:gd name="connsiteX4" fmla="*/ 0 w 8265"/>
              <a:gd name="connsiteY4" fmla="*/ 240 h 10000"/>
              <a:gd name="connsiteX0" fmla="*/ 7374 w 7374"/>
              <a:gd name="connsiteY0" fmla="*/ 0 h 10000"/>
              <a:gd name="connsiteX1" fmla="*/ 2548 w 7374"/>
              <a:gd name="connsiteY1" fmla="*/ 240 h 10000"/>
              <a:gd name="connsiteX2" fmla="*/ 2419 w 7374"/>
              <a:gd name="connsiteY2" fmla="*/ 10000 h 10000"/>
              <a:gd name="connsiteX3" fmla="*/ 2273 w 7374"/>
              <a:gd name="connsiteY3" fmla="*/ 240 h 10000"/>
              <a:gd name="connsiteX4" fmla="*/ 0 w 7374"/>
              <a:gd name="connsiteY4" fmla="*/ 240 h 10000"/>
              <a:gd name="connsiteX0" fmla="*/ 8928 w 8928"/>
              <a:gd name="connsiteY0" fmla="*/ 0 h 10240"/>
              <a:gd name="connsiteX1" fmla="*/ 3455 w 8928"/>
              <a:gd name="connsiteY1" fmla="*/ 480 h 10240"/>
              <a:gd name="connsiteX2" fmla="*/ 3280 w 8928"/>
              <a:gd name="connsiteY2" fmla="*/ 10240 h 10240"/>
              <a:gd name="connsiteX3" fmla="*/ 3082 w 8928"/>
              <a:gd name="connsiteY3" fmla="*/ 480 h 10240"/>
              <a:gd name="connsiteX4" fmla="*/ 0 w 8928"/>
              <a:gd name="connsiteY4" fmla="*/ 480 h 10240"/>
              <a:gd name="connsiteX0" fmla="*/ 11411 w 11411"/>
              <a:gd name="connsiteY0" fmla="*/ 0 h 10000"/>
              <a:gd name="connsiteX1" fmla="*/ 5281 w 11411"/>
              <a:gd name="connsiteY1" fmla="*/ 469 h 10000"/>
              <a:gd name="connsiteX2" fmla="*/ 5085 w 11411"/>
              <a:gd name="connsiteY2" fmla="*/ 10000 h 10000"/>
              <a:gd name="connsiteX3" fmla="*/ 4863 w 11411"/>
              <a:gd name="connsiteY3" fmla="*/ 469 h 10000"/>
              <a:gd name="connsiteX4" fmla="*/ 0 w 11411"/>
              <a:gd name="connsiteY4" fmla="*/ 469 h 10000"/>
              <a:gd name="connsiteX0" fmla="*/ 12583 w 12583"/>
              <a:gd name="connsiteY0" fmla="*/ 0 h 10000"/>
              <a:gd name="connsiteX1" fmla="*/ 6453 w 12583"/>
              <a:gd name="connsiteY1" fmla="*/ 469 h 10000"/>
              <a:gd name="connsiteX2" fmla="*/ 6257 w 12583"/>
              <a:gd name="connsiteY2" fmla="*/ 10000 h 10000"/>
              <a:gd name="connsiteX3" fmla="*/ 6035 w 12583"/>
              <a:gd name="connsiteY3" fmla="*/ 469 h 10000"/>
              <a:gd name="connsiteX4" fmla="*/ 0 w 12583"/>
              <a:gd name="connsiteY4" fmla="*/ 469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583" h="10000">
                <a:moveTo>
                  <a:pt x="12583" y="0"/>
                </a:moveTo>
                <a:lnTo>
                  <a:pt x="6453" y="469"/>
                </a:lnTo>
                <a:cubicBezTo>
                  <a:pt x="6389" y="3646"/>
                  <a:pt x="6323" y="6823"/>
                  <a:pt x="6257" y="10000"/>
                </a:cubicBezTo>
                <a:cubicBezTo>
                  <a:pt x="6183" y="6823"/>
                  <a:pt x="6110" y="3646"/>
                  <a:pt x="6035" y="469"/>
                </a:cubicBezTo>
                <a:lnTo>
                  <a:pt x="0" y="469"/>
                </a:lnTo>
              </a:path>
            </a:pathLst>
          </a:custGeom>
          <a:noFill/>
          <a:ln w="7938" cap="rnd">
            <a:solidFill>
              <a:schemeClr val="bg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9060" tIns="49530" rIns="99060" bIns="49530" numCol="1" anchor="t" anchorCtr="0" compatLnSpc="1">
            <a:prstTxWarp prst="textNoShape">
              <a:avLst/>
            </a:prstTxWarp>
          </a:bodyPr>
          <a:lstStyle/>
          <a:p>
            <a:endParaRPr lang="en-US" sz="2288" dirty="0">
              <a:latin typeface="ＭＳ Ｐゴシック" panose="020B060007020508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75789440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allery Callou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Picture Placeholder 8"/>
          <p:cNvSpPr>
            <a:spLocks noGrp="1"/>
          </p:cNvSpPr>
          <p:nvPr>
            <p:ph type="pic" sz="quarter" idx="19"/>
          </p:nvPr>
        </p:nvSpPr>
        <p:spPr>
          <a:xfrm>
            <a:off x="-1" y="-13698"/>
            <a:ext cx="5151574" cy="6871697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white">
          <a:xfrm>
            <a:off x="337939" y="6547380"/>
            <a:ext cx="3136900" cy="10002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>
              <a:defRPr lang="en-US" smtClean="0"/>
            </a:lvl1pPr>
          </a:lstStyle>
          <a:p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 bwMode="white">
          <a:xfrm>
            <a:off x="337940" y="6401048"/>
            <a:ext cx="2773163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650" dirty="0">
                <a:solidFill>
                  <a:schemeClr val="bg1"/>
                </a:solidFill>
                <a:latin typeface="ＭＳ Ｐゴシック" panose="020B0600070205080204" pitchFamily="50" charset="-128"/>
              </a:rPr>
              <a:t>PwC’s Digital</a:t>
            </a:r>
            <a:r>
              <a:rPr lang="en-US" sz="650" baseline="0" dirty="0">
                <a:solidFill>
                  <a:schemeClr val="bg1"/>
                </a:solidFill>
                <a:latin typeface="ＭＳ Ｐゴシック" panose="020B0600070205080204" pitchFamily="50" charset="-128"/>
              </a:rPr>
              <a:t> Services</a:t>
            </a:r>
            <a:endParaRPr lang="en-US" sz="650" dirty="0">
              <a:solidFill>
                <a:schemeClr val="bg1"/>
              </a:solidFill>
              <a:latin typeface="ＭＳ Ｐゴシック" panose="020B0600070205080204" pitchFamily="50" charset="-128"/>
            </a:endParaRPr>
          </a:p>
        </p:txBody>
      </p:sp>
      <p:sp>
        <p:nvSpPr>
          <p:cNvPr id="26" name="Content Placeholder 2"/>
          <p:cNvSpPr>
            <a:spLocks noGrp="1"/>
          </p:cNvSpPr>
          <p:nvPr>
            <p:ph idx="18"/>
          </p:nvPr>
        </p:nvSpPr>
        <p:spPr bwMode="white">
          <a:xfrm>
            <a:off x="337940" y="5906188"/>
            <a:ext cx="2879648" cy="281480"/>
          </a:xfrm>
        </p:spPr>
        <p:txBody>
          <a:bodyPr numCol="1">
            <a:noAutofit/>
          </a:bodyPr>
          <a:lstStyle>
            <a:lvl1pPr>
              <a:spcBef>
                <a:spcPts val="650"/>
              </a:spcBef>
              <a:tabLst>
                <a:tab pos="309553" algn="l"/>
              </a:tabLst>
              <a:defRPr sz="867" cap="none" baseline="0">
                <a:solidFill>
                  <a:schemeClr val="bg1"/>
                </a:solidFill>
                <a:latin typeface="ＭＳ Ｐゴシック" panose="020B0600070205080204" pitchFamily="50" charset="-128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337940" y="5694197"/>
            <a:ext cx="299244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5153070" y="-8965"/>
            <a:ext cx="2585536" cy="172338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8" name="Picture Placeholder 8"/>
          <p:cNvSpPr>
            <a:spLocks noGrp="1"/>
          </p:cNvSpPr>
          <p:nvPr>
            <p:ph type="pic" sz="quarter" idx="15"/>
          </p:nvPr>
        </p:nvSpPr>
        <p:spPr>
          <a:xfrm>
            <a:off x="5153070" y="1707249"/>
            <a:ext cx="2585536" cy="172338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1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5153070" y="3423462"/>
            <a:ext cx="2585536" cy="172338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5" name="Picture Placeholder 8"/>
          <p:cNvSpPr>
            <a:spLocks noGrp="1"/>
          </p:cNvSpPr>
          <p:nvPr>
            <p:ph type="pic" sz="quarter" idx="17"/>
          </p:nvPr>
        </p:nvSpPr>
        <p:spPr>
          <a:xfrm>
            <a:off x="5153070" y="5136501"/>
            <a:ext cx="2585536" cy="172338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cxnSp>
        <p:nvCxnSpPr>
          <p:cNvPr id="17" name="Straight Connector 16"/>
          <p:cNvCxnSpPr/>
          <p:nvPr userDrawn="1"/>
        </p:nvCxnSpPr>
        <p:spPr bwMode="white">
          <a:xfrm flipH="1">
            <a:off x="5151573" y="-12699"/>
            <a:ext cx="0" cy="6876288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8465937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xperience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5"/>
          <p:cNvSpPr>
            <a:spLocks/>
          </p:cNvSpPr>
          <p:nvPr userDrawn="1"/>
        </p:nvSpPr>
        <p:spPr bwMode="auto">
          <a:xfrm rot="16200000">
            <a:off x="-43081" y="3375505"/>
            <a:ext cx="6851673" cy="110068"/>
          </a:xfrm>
          <a:custGeom>
            <a:avLst/>
            <a:gdLst>
              <a:gd name="T0" fmla="*/ 5760 w 5760"/>
              <a:gd name="T1" fmla="*/ 0 h 61"/>
              <a:gd name="T2" fmla="*/ 996 w 5760"/>
              <a:gd name="T3" fmla="*/ 0 h 61"/>
              <a:gd name="T4" fmla="*/ 945 w 5760"/>
              <a:gd name="T5" fmla="*/ 61 h 61"/>
              <a:gd name="T6" fmla="*/ 888 w 5760"/>
              <a:gd name="T7" fmla="*/ 0 h 61"/>
              <a:gd name="T8" fmla="*/ 0 w 5760"/>
              <a:gd name="T9" fmla="*/ 0 h 61"/>
              <a:gd name="connsiteX0" fmla="*/ 8208 w 8208"/>
              <a:gd name="connsiteY0" fmla="*/ 0 h 10246"/>
              <a:gd name="connsiteX1" fmla="*/ 1729 w 8208"/>
              <a:gd name="connsiteY1" fmla="*/ 246 h 10246"/>
              <a:gd name="connsiteX2" fmla="*/ 1641 w 8208"/>
              <a:gd name="connsiteY2" fmla="*/ 10246 h 10246"/>
              <a:gd name="connsiteX3" fmla="*/ 1542 w 8208"/>
              <a:gd name="connsiteY3" fmla="*/ 246 h 10246"/>
              <a:gd name="connsiteX4" fmla="*/ 0 w 8208"/>
              <a:gd name="connsiteY4" fmla="*/ 246 h 10246"/>
              <a:gd name="connsiteX0" fmla="*/ 8265 w 8265"/>
              <a:gd name="connsiteY0" fmla="*/ 0 h 10000"/>
              <a:gd name="connsiteX1" fmla="*/ 2106 w 8265"/>
              <a:gd name="connsiteY1" fmla="*/ 240 h 10000"/>
              <a:gd name="connsiteX2" fmla="*/ 1999 w 8265"/>
              <a:gd name="connsiteY2" fmla="*/ 10000 h 10000"/>
              <a:gd name="connsiteX3" fmla="*/ 1879 w 8265"/>
              <a:gd name="connsiteY3" fmla="*/ 240 h 10000"/>
              <a:gd name="connsiteX4" fmla="*/ 0 w 8265"/>
              <a:gd name="connsiteY4" fmla="*/ 240 h 10000"/>
              <a:gd name="connsiteX0" fmla="*/ 7374 w 7374"/>
              <a:gd name="connsiteY0" fmla="*/ 0 h 10000"/>
              <a:gd name="connsiteX1" fmla="*/ 2548 w 7374"/>
              <a:gd name="connsiteY1" fmla="*/ 240 h 10000"/>
              <a:gd name="connsiteX2" fmla="*/ 2419 w 7374"/>
              <a:gd name="connsiteY2" fmla="*/ 10000 h 10000"/>
              <a:gd name="connsiteX3" fmla="*/ 2273 w 7374"/>
              <a:gd name="connsiteY3" fmla="*/ 240 h 10000"/>
              <a:gd name="connsiteX4" fmla="*/ 0 w 7374"/>
              <a:gd name="connsiteY4" fmla="*/ 240 h 10000"/>
              <a:gd name="connsiteX0" fmla="*/ 8928 w 8928"/>
              <a:gd name="connsiteY0" fmla="*/ 0 h 10240"/>
              <a:gd name="connsiteX1" fmla="*/ 3455 w 8928"/>
              <a:gd name="connsiteY1" fmla="*/ 480 h 10240"/>
              <a:gd name="connsiteX2" fmla="*/ 3280 w 8928"/>
              <a:gd name="connsiteY2" fmla="*/ 10240 h 10240"/>
              <a:gd name="connsiteX3" fmla="*/ 3082 w 8928"/>
              <a:gd name="connsiteY3" fmla="*/ 480 h 10240"/>
              <a:gd name="connsiteX4" fmla="*/ 0 w 8928"/>
              <a:gd name="connsiteY4" fmla="*/ 480 h 10240"/>
              <a:gd name="connsiteX0" fmla="*/ 11411 w 11411"/>
              <a:gd name="connsiteY0" fmla="*/ 0 h 10000"/>
              <a:gd name="connsiteX1" fmla="*/ 5281 w 11411"/>
              <a:gd name="connsiteY1" fmla="*/ 469 h 10000"/>
              <a:gd name="connsiteX2" fmla="*/ 5085 w 11411"/>
              <a:gd name="connsiteY2" fmla="*/ 10000 h 10000"/>
              <a:gd name="connsiteX3" fmla="*/ 4863 w 11411"/>
              <a:gd name="connsiteY3" fmla="*/ 469 h 10000"/>
              <a:gd name="connsiteX4" fmla="*/ 0 w 11411"/>
              <a:gd name="connsiteY4" fmla="*/ 469 h 10000"/>
              <a:gd name="connsiteX0" fmla="*/ 12583 w 12583"/>
              <a:gd name="connsiteY0" fmla="*/ 0 h 10000"/>
              <a:gd name="connsiteX1" fmla="*/ 6453 w 12583"/>
              <a:gd name="connsiteY1" fmla="*/ 469 h 10000"/>
              <a:gd name="connsiteX2" fmla="*/ 6257 w 12583"/>
              <a:gd name="connsiteY2" fmla="*/ 10000 h 10000"/>
              <a:gd name="connsiteX3" fmla="*/ 6035 w 12583"/>
              <a:gd name="connsiteY3" fmla="*/ 469 h 10000"/>
              <a:gd name="connsiteX4" fmla="*/ 0 w 12583"/>
              <a:gd name="connsiteY4" fmla="*/ 469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583" h="10000">
                <a:moveTo>
                  <a:pt x="12583" y="0"/>
                </a:moveTo>
                <a:lnTo>
                  <a:pt x="6453" y="469"/>
                </a:lnTo>
                <a:cubicBezTo>
                  <a:pt x="6389" y="3646"/>
                  <a:pt x="6323" y="6823"/>
                  <a:pt x="6257" y="10000"/>
                </a:cubicBezTo>
                <a:cubicBezTo>
                  <a:pt x="6183" y="6823"/>
                  <a:pt x="6110" y="3646"/>
                  <a:pt x="6035" y="469"/>
                </a:cubicBezTo>
                <a:lnTo>
                  <a:pt x="0" y="469"/>
                </a:lnTo>
              </a:path>
            </a:pathLst>
          </a:custGeom>
          <a:noFill/>
          <a:ln w="7938" cap="rnd">
            <a:solidFill>
              <a:srgbClr val="E1301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9060" tIns="49530" rIns="99060" bIns="49530" numCol="1" anchor="t" anchorCtr="0" compatLnSpc="1">
            <a:prstTxWarp prst="textNoShape">
              <a:avLst/>
            </a:prstTxWarp>
          </a:bodyPr>
          <a:lstStyle/>
          <a:p>
            <a:endParaRPr lang="en-US" sz="2288" dirty="0">
              <a:latin typeface="ＭＳ Ｐゴシック" panose="020B0600070205080204" pitchFamily="50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35360" y="1950185"/>
            <a:ext cx="2874780" cy="666977"/>
          </a:xfrm>
        </p:spPr>
        <p:txBody>
          <a:bodyPr anchor="t"/>
          <a:lstStyle>
            <a:lvl1pPr algn="l">
              <a:lnSpc>
                <a:spcPct val="100000"/>
              </a:lnSpc>
              <a:defRPr sz="2167" b="0" cap="none">
                <a:solidFill>
                  <a:schemeClr val="tx1"/>
                </a:solidFill>
                <a:latin typeface="ＭＳ Ｐゴシック" panose="020B0600070205080204" pitchFamily="50" charset="-128"/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35360" y="3736947"/>
            <a:ext cx="2648757" cy="180049"/>
          </a:xfrm>
        </p:spPr>
        <p:txBody>
          <a:bodyPr anchor="t" anchorCtr="0"/>
          <a:lstStyle>
            <a:lvl1pPr marL="0" indent="0" algn="l">
              <a:lnSpc>
                <a:spcPct val="120000"/>
              </a:lnSpc>
              <a:spcBef>
                <a:spcPts val="0"/>
              </a:spcBef>
              <a:buFont typeface="Wingdings" panose="05000000000000000000" pitchFamily="2" charset="2"/>
              <a:buNone/>
              <a:defRPr sz="975" cap="none" baseline="0">
                <a:solidFill>
                  <a:schemeClr val="tx1"/>
                </a:solidFill>
                <a:latin typeface="ＭＳ Ｐゴシック" panose="020B0600070205080204" pitchFamily="50" charset="-128"/>
              </a:defRPr>
            </a:lvl1pPr>
            <a:lvl2pPr marL="495285" indent="0">
              <a:buNone/>
              <a:defRPr sz="1950">
                <a:solidFill>
                  <a:schemeClr val="tx1">
                    <a:tint val="75000"/>
                  </a:schemeClr>
                </a:solidFill>
              </a:defRPr>
            </a:lvl2pPr>
            <a:lvl3pPr marL="990570" indent="0">
              <a:buNone/>
              <a:defRPr sz="1733">
                <a:solidFill>
                  <a:schemeClr val="tx1">
                    <a:tint val="75000"/>
                  </a:schemeClr>
                </a:solidFill>
              </a:defRPr>
            </a:lvl3pPr>
            <a:lvl4pPr marL="1485854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4pPr>
            <a:lvl5pPr marL="1981139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5pPr>
            <a:lvl6pPr marL="2476424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6pPr>
            <a:lvl7pPr marL="2971709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7pPr>
            <a:lvl8pPr marL="3466993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8pPr>
            <a:lvl9pPr marL="3962278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7939" y="6547380"/>
            <a:ext cx="3136900" cy="10002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>
              <a:defRPr lang="en-US" smtClean="0"/>
            </a:lvl1pPr>
          </a:lstStyle>
          <a:p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584141" y="586683"/>
            <a:ext cx="0" cy="5738491"/>
          </a:xfrm>
          <a:prstGeom prst="line">
            <a:avLst/>
          </a:prstGeom>
          <a:ln w="9525">
            <a:solidFill>
              <a:srgbClr val="CCCC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 bwMode="white">
          <a:xfrm rot="16200000">
            <a:off x="646212" y="3147655"/>
            <a:ext cx="0" cy="616546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018617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xperience 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30960" y="2481867"/>
            <a:ext cx="2663185" cy="293350"/>
          </a:xfrm>
        </p:spPr>
        <p:txBody>
          <a:bodyPr anchor="t"/>
          <a:lstStyle>
            <a:lvl1pPr algn="ctr">
              <a:lnSpc>
                <a:spcPct val="110000"/>
              </a:lnSpc>
              <a:defRPr sz="1733" b="0" cap="none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37940" y="4566211"/>
            <a:ext cx="2648757" cy="116635"/>
          </a:xfrm>
        </p:spPr>
        <p:txBody>
          <a:bodyPr anchor="t" anchorCtr="0"/>
          <a:lstStyle>
            <a:lvl1pPr marL="0" indent="0" algn="ctr">
              <a:buNone/>
              <a:defRPr sz="758" b="1" kern="0" cap="all" spc="0" baseline="0">
                <a:solidFill>
                  <a:schemeClr val="tx1"/>
                </a:solidFill>
                <a:latin typeface="ＭＳ Ｐゴシック" panose="020B0600070205080204" pitchFamily="50" charset="-128"/>
              </a:defRPr>
            </a:lvl1pPr>
            <a:lvl2pPr marL="495285" indent="0">
              <a:buNone/>
              <a:defRPr sz="1950">
                <a:solidFill>
                  <a:schemeClr val="tx1">
                    <a:tint val="75000"/>
                  </a:schemeClr>
                </a:solidFill>
              </a:defRPr>
            </a:lvl2pPr>
            <a:lvl3pPr marL="990570" indent="0">
              <a:buNone/>
              <a:defRPr sz="1733">
                <a:solidFill>
                  <a:schemeClr val="tx1">
                    <a:tint val="75000"/>
                  </a:schemeClr>
                </a:solidFill>
              </a:defRPr>
            </a:lvl3pPr>
            <a:lvl4pPr marL="1485854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4pPr>
            <a:lvl5pPr marL="1981139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5pPr>
            <a:lvl6pPr marL="2476424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6pPr>
            <a:lvl7pPr marL="2971709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7pPr>
            <a:lvl8pPr marL="3466993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8pPr>
            <a:lvl9pPr marL="3962278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7939" y="6547380"/>
            <a:ext cx="3136900" cy="10002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>
              <a:defRPr lang="en-US" smtClean="0"/>
            </a:lvl1pPr>
          </a:lstStyle>
          <a:p>
            <a:endParaRPr lang="en-US"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6584141" y="586683"/>
            <a:ext cx="0" cy="5738491"/>
          </a:xfrm>
          <a:prstGeom prst="line">
            <a:avLst/>
          </a:prstGeom>
          <a:ln w="9525">
            <a:solidFill>
              <a:srgbClr val="CCCCCC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Freeform 5"/>
          <p:cNvSpPr>
            <a:spLocks/>
          </p:cNvSpPr>
          <p:nvPr userDrawn="1"/>
        </p:nvSpPr>
        <p:spPr bwMode="auto">
          <a:xfrm rot="16200000">
            <a:off x="-43081" y="3375505"/>
            <a:ext cx="6851673" cy="110068"/>
          </a:xfrm>
          <a:custGeom>
            <a:avLst/>
            <a:gdLst>
              <a:gd name="T0" fmla="*/ 5760 w 5760"/>
              <a:gd name="T1" fmla="*/ 0 h 61"/>
              <a:gd name="T2" fmla="*/ 996 w 5760"/>
              <a:gd name="T3" fmla="*/ 0 h 61"/>
              <a:gd name="T4" fmla="*/ 945 w 5760"/>
              <a:gd name="T5" fmla="*/ 61 h 61"/>
              <a:gd name="T6" fmla="*/ 888 w 5760"/>
              <a:gd name="T7" fmla="*/ 0 h 61"/>
              <a:gd name="T8" fmla="*/ 0 w 5760"/>
              <a:gd name="T9" fmla="*/ 0 h 61"/>
              <a:gd name="connsiteX0" fmla="*/ 8208 w 8208"/>
              <a:gd name="connsiteY0" fmla="*/ 0 h 10246"/>
              <a:gd name="connsiteX1" fmla="*/ 1729 w 8208"/>
              <a:gd name="connsiteY1" fmla="*/ 246 h 10246"/>
              <a:gd name="connsiteX2" fmla="*/ 1641 w 8208"/>
              <a:gd name="connsiteY2" fmla="*/ 10246 h 10246"/>
              <a:gd name="connsiteX3" fmla="*/ 1542 w 8208"/>
              <a:gd name="connsiteY3" fmla="*/ 246 h 10246"/>
              <a:gd name="connsiteX4" fmla="*/ 0 w 8208"/>
              <a:gd name="connsiteY4" fmla="*/ 246 h 10246"/>
              <a:gd name="connsiteX0" fmla="*/ 8265 w 8265"/>
              <a:gd name="connsiteY0" fmla="*/ 0 h 10000"/>
              <a:gd name="connsiteX1" fmla="*/ 2106 w 8265"/>
              <a:gd name="connsiteY1" fmla="*/ 240 h 10000"/>
              <a:gd name="connsiteX2" fmla="*/ 1999 w 8265"/>
              <a:gd name="connsiteY2" fmla="*/ 10000 h 10000"/>
              <a:gd name="connsiteX3" fmla="*/ 1879 w 8265"/>
              <a:gd name="connsiteY3" fmla="*/ 240 h 10000"/>
              <a:gd name="connsiteX4" fmla="*/ 0 w 8265"/>
              <a:gd name="connsiteY4" fmla="*/ 240 h 10000"/>
              <a:gd name="connsiteX0" fmla="*/ 7374 w 7374"/>
              <a:gd name="connsiteY0" fmla="*/ 0 h 10000"/>
              <a:gd name="connsiteX1" fmla="*/ 2548 w 7374"/>
              <a:gd name="connsiteY1" fmla="*/ 240 h 10000"/>
              <a:gd name="connsiteX2" fmla="*/ 2419 w 7374"/>
              <a:gd name="connsiteY2" fmla="*/ 10000 h 10000"/>
              <a:gd name="connsiteX3" fmla="*/ 2273 w 7374"/>
              <a:gd name="connsiteY3" fmla="*/ 240 h 10000"/>
              <a:gd name="connsiteX4" fmla="*/ 0 w 7374"/>
              <a:gd name="connsiteY4" fmla="*/ 240 h 10000"/>
              <a:gd name="connsiteX0" fmla="*/ 8928 w 8928"/>
              <a:gd name="connsiteY0" fmla="*/ 0 h 10240"/>
              <a:gd name="connsiteX1" fmla="*/ 3455 w 8928"/>
              <a:gd name="connsiteY1" fmla="*/ 480 h 10240"/>
              <a:gd name="connsiteX2" fmla="*/ 3280 w 8928"/>
              <a:gd name="connsiteY2" fmla="*/ 10240 h 10240"/>
              <a:gd name="connsiteX3" fmla="*/ 3082 w 8928"/>
              <a:gd name="connsiteY3" fmla="*/ 480 h 10240"/>
              <a:gd name="connsiteX4" fmla="*/ 0 w 8928"/>
              <a:gd name="connsiteY4" fmla="*/ 480 h 10240"/>
              <a:gd name="connsiteX0" fmla="*/ 11411 w 11411"/>
              <a:gd name="connsiteY0" fmla="*/ 0 h 10000"/>
              <a:gd name="connsiteX1" fmla="*/ 5281 w 11411"/>
              <a:gd name="connsiteY1" fmla="*/ 469 h 10000"/>
              <a:gd name="connsiteX2" fmla="*/ 5085 w 11411"/>
              <a:gd name="connsiteY2" fmla="*/ 10000 h 10000"/>
              <a:gd name="connsiteX3" fmla="*/ 4863 w 11411"/>
              <a:gd name="connsiteY3" fmla="*/ 469 h 10000"/>
              <a:gd name="connsiteX4" fmla="*/ 0 w 11411"/>
              <a:gd name="connsiteY4" fmla="*/ 469 h 10000"/>
              <a:gd name="connsiteX0" fmla="*/ 12583 w 12583"/>
              <a:gd name="connsiteY0" fmla="*/ 0 h 10000"/>
              <a:gd name="connsiteX1" fmla="*/ 6453 w 12583"/>
              <a:gd name="connsiteY1" fmla="*/ 469 h 10000"/>
              <a:gd name="connsiteX2" fmla="*/ 6257 w 12583"/>
              <a:gd name="connsiteY2" fmla="*/ 10000 h 10000"/>
              <a:gd name="connsiteX3" fmla="*/ 6035 w 12583"/>
              <a:gd name="connsiteY3" fmla="*/ 469 h 10000"/>
              <a:gd name="connsiteX4" fmla="*/ 0 w 12583"/>
              <a:gd name="connsiteY4" fmla="*/ 469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583" h="10000">
                <a:moveTo>
                  <a:pt x="12583" y="0"/>
                </a:moveTo>
                <a:lnTo>
                  <a:pt x="6453" y="469"/>
                </a:lnTo>
                <a:cubicBezTo>
                  <a:pt x="6389" y="3646"/>
                  <a:pt x="6323" y="6823"/>
                  <a:pt x="6257" y="10000"/>
                </a:cubicBezTo>
                <a:cubicBezTo>
                  <a:pt x="6183" y="6823"/>
                  <a:pt x="6110" y="3646"/>
                  <a:pt x="6035" y="469"/>
                </a:cubicBezTo>
                <a:lnTo>
                  <a:pt x="0" y="469"/>
                </a:lnTo>
              </a:path>
            </a:pathLst>
          </a:custGeom>
          <a:noFill/>
          <a:ln w="7938" cap="rnd">
            <a:solidFill>
              <a:srgbClr val="E1301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9060" tIns="49530" rIns="99060" bIns="49530" numCol="1" anchor="t" anchorCtr="0" compatLnSpc="1">
            <a:prstTxWarp prst="textNoShape">
              <a:avLst/>
            </a:prstTxWarp>
          </a:bodyPr>
          <a:lstStyle/>
          <a:p>
            <a:endParaRPr lang="en-US" sz="2288" dirty="0">
              <a:latin typeface="ＭＳ Ｐゴシック" panose="020B060007020508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73463563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xperience 6"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7939" y="6547380"/>
            <a:ext cx="3136900" cy="10002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marL="0" algn="l" defTabSz="990570" rtl="0" eaLnBrk="1" latinLnBrk="0" hangingPunct="1">
              <a:defRPr lang="en-US" sz="650" kern="1200" smtClean="0">
                <a:solidFill>
                  <a:schemeClr val="bg1"/>
                </a:solidFill>
                <a:latin typeface="ＭＳ Ｐゴシック" panose="020B0600070205080204" pitchFamily="50" charset="-128"/>
                <a:ea typeface="+mn-ea"/>
                <a:cs typeface="+mn-cs"/>
              </a:defRPr>
            </a:lvl1pPr>
          </a:lstStyle>
          <a:p>
            <a:endParaRPr lang="ja-JP" alt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337940" y="6401048"/>
            <a:ext cx="2773163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650" dirty="0">
                <a:solidFill>
                  <a:schemeClr val="bg1"/>
                </a:solidFill>
                <a:latin typeface="ＭＳ Ｐゴシック" panose="020B0600070205080204" pitchFamily="50" charset="-128"/>
              </a:rPr>
              <a:t>PwC’s Digital</a:t>
            </a:r>
            <a:r>
              <a:rPr lang="en-US" sz="650" baseline="0" dirty="0">
                <a:solidFill>
                  <a:schemeClr val="bg1"/>
                </a:solidFill>
                <a:latin typeface="ＭＳ Ｐゴシック" panose="020B0600070205080204" pitchFamily="50" charset="-128"/>
              </a:rPr>
              <a:t> Services</a:t>
            </a:r>
            <a:endParaRPr lang="en-US" sz="650" dirty="0">
              <a:solidFill>
                <a:schemeClr val="bg1"/>
              </a:solidFill>
              <a:latin typeface="ＭＳ Ｐゴシック" panose="020B0600070205080204" pitchFamily="50" charset="-128"/>
            </a:endParaRPr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335360" y="2516012"/>
            <a:ext cx="2874780" cy="666977"/>
          </a:xfrm>
        </p:spPr>
        <p:txBody>
          <a:bodyPr anchor="b" anchorCtr="0"/>
          <a:lstStyle>
            <a:lvl1pPr algn="l">
              <a:lnSpc>
                <a:spcPct val="100000"/>
              </a:lnSpc>
              <a:defRPr sz="2167" b="0" cap="none">
                <a:solidFill>
                  <a:schemeClr val="bg1"/>
                </a:solidFill>
                <a:latin typeface="ＭＳ Ｐゴシック" panose="020B0600070205080204" pitchFamily="50" charset="-128"/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335361" y="3721680"/>
            <a:ext cx="2543572" cy="150041"/>
          </a:xfrm>
        </p:spPr>
        <p:txBody>
          <a:bodyPr/>
          <a:lstStyle>
            <a:lvl1pPr>
              <a:defRPr sz="975">
                <a:solidFill>
                  <a:schemeClr val="bg1"/>
                </a:solidFill>
                <a:latin typeface="ＭＳ Ｐゴシック" panose="020B0600070205080204" pitchFamily="50" charset="-128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Freeform 5"/>
          <p:cNvSpPr>
            <a:spLocks/>
          </p:cNvSpPr>
          <p:nvPr userDrawn="1"/>
        </p:nvSpPr>
        <p:spPr bwMode="auto">
          <a:xfrm rot="16200000">
            <a:off x="-43081" y="3375505"/>
            <a:ext cx="6851673" cy="110068"/>
          </a:xfrm>
          <a:custGeom>
            <a:avLst/>
            <a:gdLst>
              <a:gd name="T0" fmla="*/ 5760 w 5760"/>
              <a:gd name="T1" fmla="*/ 0 h 61"/>
              <a:gd name="T2" fmla="*/ 996 w 5760"/>
              <a:gd name="T3" fmla="*/ 0 h 61"/>
              <a:gd name="T4" fmla="*/ 945 w 5760"/>
              <a:gd name="T5" fmla="*/ 61 h 61"/>
              <a:gd name="T6" fmla="*/ 888 w 5760"/>
              <a:gd name="T7" fmla="*/ 0 h 61"/>
              <a:gd name="T8" fmla="*/ 0 w 5760"/>
              <a:gd name="T9" fmla="*/ 0 h 61"/>
              <a:gd name="connsiteX0" fmla="*/ 8208 w 8208"/>
              <a:gd name="connsiteY0" fmla="*/ 0 h 10246"/>
              <a:gd name="connsiteX1" fmla="*/ 1729 w 8208"/>
              <a:gd name="connsiteY1" fmla="*/ 246 h 10246"/>
              <a:gd name="connsiteX2" fmla="*/ 1641 w 8208"/>
              <a:gd name="connsiteY2" fmla="*/ 10246 h 10246"/>
              <a:gd name="connsiteX3" fmla="*/ 1542 w 8208"/>
              <a:gd name="connsiteY3" fmla="*/ 246 h 10246"/>
              <a:gd name="connsiteX4" fmla="*/ 0 w 8208"/>
              <a:gd name="connsiteY4" fmla="*/ 246 h 10246"/>
              <a:gd name="connsiteX0" fmla="*/ 8265 w 8265"/>
              <a:gd name="connsiteY0" fmla="*/ 0 h 10000"/>
              <a:gd name="connsiteX1" fmla="*/ 2106 w 8265"/>
              <a:gd name="connsiteY1" fmla="*/ 240 h 10000"/>
              <a:gd name="connsiteX2" fmla="*/ 1999 w 8265"/>
              <a:gd name="connsiteY2" fmla="*/ 10000 h 10000"/>
              <a:gd name="connsiteX3" fmla="*/ 1879 w 8265"/>
              <a:gd name="connsiteY3" fmla="*/ 240 h 10000"/>
              <a:gd name="connsiteX4" fmla="*/ 0 w 8265"/>
              <a:gd name="connsiteY4" fmla="*/ 240 h 10000"/>
              <a:gd name="connsiteX0" fmla="*/ 7374 w 7374"/>
              <a:gd name="connsiteY0" fmla="*/ 0 h 10000"/>
              <a:gd name="connsiteX1" fmla="*/ 2548 w 7374"/>
              <a:gd name="connsiteY1" fmla="*/ 240 h 10000"/>
              <a:gd name="connsiteX2" fmla="*/ 2419 w 7374"/>
              <a:gd name="connsiteY2" fmla="*/ 10000 h 10000"/>
              <a:gd name="connsiteX3" fmla="*/ 2273 w 7374"/>
              <a:gd name="connsiteY3" fmla="*/ 240 h 10000"/>
              <a:gd name="connsiteX4" fmla="*/ 0 w 7374"/>
              <a:gd name="connsiteY4" fmla="*/ 240 h 10000"/>
              <a:gd name="connsiteX0" fmla="*/ 8928 w 8928"/>
              <a:gd name="connsiteY0" fmla="*/ 0 h 10240"/>
              <a:gd name="connsiteX1" fmla="*/ 3455 w 8928"/>
              <a:gd name="connsiteY1" fmla="*/ 480 h 10240"/>
              <a:gd name="connsiteX2" fmla="*/ 3280 w 8928"/>
              <a:gd name="connsiteY2" fmla="*/ 10240 h 10240"/>
              <a:gd name="connsiteX3" fmla="*/ 3082 w 8928"/>
              <a:gd name="connsiteY3" fmla="*/ 480 h 10240"/>
              <a:gd name="connsiteX4" fmla="*/ 0 w 8928"/>
              <a:gd name="connsiteY4" fmla="*/ 480 h 10240"/>
              <a:gd name="connsiteX0" fmla="*/ 11411 w 11411"/>
              <a:gd name="connsiteY0" fmla="*/ 0 h 10000"/>
              <a:gd name="connsiteX1" fmla="*/ 5281 w 11411"/>
              <a:gd name="connsiteY1" fmla="*/ 469 h 10000"/>
              <a:gd name="connsiteX2" fmla="*/ 5085 w 11411"/>
              <a:gd name="connsiteY2" fmla="*/ 10000 h 10000"/>
              <a:gd name="connsiteX3" fmla="*/ 4863 w 11411"/>
              <a:gd name="connsiteY3" fmla="*/ 469 h 10000"/>
              <a:gd name="connsiteX4" fmla="*/ 0 w 11411"/>
              <a:gd name="connsiteY4" fmla="*/ 469 h 10000"/>
              <a:gd name="connsiteX0" fmla="*/ 12583 w 12583"/>
              <a:gd name="connsiteY0" fmla="*/ 0 h 10000"/>
              <a:gd name="connsiteX1" fmla="*/ 6453 w 12583"/>
              <a:gd name="connsiteY1" fmla="*/ 469 h 10000"/>
              <a:gd name="connsiteX2" fmla="*/ 6257 w 12583"/>
              <a:gd name="connsiteY2" fmla="*/ 10000 h 10000"/>
              <a:gd name="connsiteX3" fmla="*/ 6035 w 12583"/>
              <a:gd name="connsiteY3" fmla="*/ 469 h 10000"/>
              <a:gd name="connsiteX4" fmla="*/ 0 w 12583"/>
              <a:gd name="connsiteY4" fmla="*/ 469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583" h="10000">
                <a:moveTo>
                  <a:pt x="12583" y="0"/>
                </a:moveTo>
                <a:lnTo>
                  <a:pt x="6453" y="469"/>
                </a:lnTo>
                <a:cubicBezTo>
                  <a:pt x="6389" y="3646"/>
                  <a:pt x="6323" y="6823"/>
                  <a:pt x="6257" y="10000"/>
                </a:cubicBezTo>
                <a:cubicBezTo>
                  <a:pt x="6183" y="6823"/>
                  <a:pt x="6110" y="3646"/>
                  <a:pt x="6035" y="469"/>
                </a:cubicBezTo>
                <a:lnTo>
                  <a:pt x="0" y="469"/>
                </a:lnTo>
              </a:path>
            </a:pathLst>
          </a:custGeom>
          <a:noFill/>
          <a:ln w="7938" cap="rnd">
            <a:solidFill>
              <a:schemeClr val="bg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9060" tIns="49530" rIns="99060" bIns="49530" numCol="1" anchor="t" anchorCtr="0" compatLnSpc="1">
            <a:prstTxWarp prst="textNoShape">
              <a:avLst/>
            </a:prstTxWarp>
          </a:bodyPr>
          <a:lstStyle/>
          <a:p>
            <a:endParaRPr lang="en-US" sz="2288" dirty="0">
              <a:latin typeface="ＭＳ Ｐゴシック" panose="020B060007020508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3090292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xperience 7"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7939" y="6547380"/>
            <a:ext cx="3136900" cy="10002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marL="0" algn="l" defTabSz="990570" rtl="0" eaLnBrk="1" latinLnBrk="0" hangingPunct="1">
              <a:defRPr lang="en-US" sz="650" kern="1200" smtClean="0">
                <a:solidFill>
                  <a:schemeClr val="bg1"/>
                </a:solidFill>
                <a:latin typeface="ＭＳ Ｐゴシック" panose="020B0600070205080204" pitchFamily="50" charset="-128"/>
                <a:ea typeface="+mn-ea"/>
                <a:cs typeface="+mn-cs"/>
              </a:defRPr>
            </a:lvl1pPr>
          </a:lstStyle>
          <a:p>
            <a:endParaRPr lang="ja-JP" alt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337940" y="6401048"/>
            <a:ext cx="2773163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650" dirty="0">
                <a:solidFill>
                  <a:schemeClr val="bg1"/>
                </a:solidFill>
                <a:latin typeface="ＭＳ Ｐゴシック" panose="020B0600070205080204" pitchFamily="50" charset="-128"/>
              </a:rPr>
              <a:t>PwC’s Digital</a:t>
            </a:r>
            <a:r>
              <a:rPr lang="en-US" sz="650" baseline="0" dirty="0">
                <a:solidFill>
                  <a:schemeClr val="bg1"/>
                </a:solidFill>
                <a:latin typeface="ＭＳ Ｐゴシック" panose="020B0600070205080204" pitchFamily="50" charset="-128"/>
              </a:rPr>
              <a:t> Services</a:t>
            </a:r>
            <a:endParaRPr lang="en-US" sz="650" dirty="0">
              <a:solidFill>
                <a:schemeClr val="bg1"/>
              </a:solidFill>
              <a:latin typeface="ＭＳ Ｐゴシック" panose="020B0600070205080204" pitchFamily="50" charset="-128"/>
            </a:endParaRPr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335360" y="3187246"/>
            <a:ext cx="2874780" cy="666977"/>
          </a:xfrm>
        </p:spPr>
        <p:txBody>
          <a:bodyPr anchor="b" anchorCtr="0"/>
          <a:lstStyle>
            <a:lvl1pPr algn="l">
              <a:lnSpc>
                <a:spcPct val="100000"/>
              </a:lnSpc>
              <a:defRPr sz="2167" b="0" cap="none">
                <a:solidFill>
                  <a:schemeClr val="bg1"/>
                </a:solidFill>
                <a:latin typeface="ＭＳ Ｐゴシック" panose="020B0600070205080204" pitchFamily="50" charset="-128"/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type="body" idx="1"/>
          </p:nvPr>
        </p:nvSpPr>
        <p:spPr>
          <a:xfrm>
            <a:off x="337939" y="4084179"/>
            <a:ext cx="2648757" cy="180049"/>
          </a:xfrm>
        </p:spPr>
        <p:txBody>
          <a:bodyPr anchor="t" anchorCtr="0"/>
          <a:lstStyle>
            <a:lvl1pPr marL="0" indent="0" algn="l">
              <a:lnSpc>
                <a:spcPct val="120000"/>
              </a:lnSpc>
              <a:spcBef>
                <a:spcPts val="0"/>
              </a:spcBef>
              <a:buFont typeface="Wingdings" panose="05000000000000000000" pitchFamily="2" charset="2"/>
              <a:buNone/>
              <a:defRPr sz="975" cap="none" baseline="0">
                <a:solidFill>
                  <a:schemeClr val="bg1"/>
                </a:solidFill>
                <a:latin typeface="ＭＳ Ｐゴシック" panose="020B0600070205080204" pitchFamily="50" charset="-128"/>
              </a:defRPr>
            </a:lvl1pPr>
            <a:lvl2pPr marL="495285" indent="0">
              <a:buNone/>
              <a:defRPr sz="1950">
                <a:solidFill>
                  <a:schemeClr val="tx1">
                    <a:tint val="75000"/>
                  </a:schemeClr>
                </a:solidFill>
              </a:defRPr>
            </a:lvl2pPr>
            <a:lvl3pPr marL="990570" indent="0">
              <a:buNone/>
              <a:defRPr sz="1733">
                <a:solidFill>
                  <a:schemeClr val="tx1">
                    <a:tint val="75000"/>
                  </a:schemeClr>
                </a:solidFill>
              </a:defRPr>
            </a:lvl3pPr>
            <a:lvl4pPr marL="1485854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4pPr>
            <a:lvl5pPr marL="1981139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5pPr>
            <a:lvl6pPr marL="2476424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6pPr>
            <a:lvl7pPr marL="2971709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7pPr>
            <a:lvl8pPr marL="3466993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8pPr>
            <a:lvl9pPr marL="3962278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Freeform 5"/>
          <p:cNvSpPr>
            <a:spLocks/>
          </p:cNvSpPr>
          <p:nvPr userDrawn="1"/>
        </p:nvSpPr>
        <p:spPr bwMode="auto">
          <a:xfrm rot="16200000">
            <a:off x="-43081" y="3375505"/>
            <a:ext cx="6851673" cy="110068"/>
          </a:xfrm>
          <a:custGeom>
            <a:avLst/>
            <a:gdLst>
              <a:gd name="T0" fmla="*/ 5760 w 5760"/>
              <a:gd name="T1" fmla="*/ 0 h 61"/>
              <a:gd name="T2" fmla="*/ 996 w 5760"/>
              <a:gd name="T3" fmla="*/ 0 h 61"/>
              <a:gd name="T4" fmla="*/ 945 w 5760"/>
              <a:gd name="T5" fmla="*/ 61 h 61"/>
              <a:gd name="T6" fmla="*/ 888 w 5760"/>
              <a:gd name="T7" fmla="*/ 0 h 61"/>
              <a:gd name="T8" fmla="*/ 0 w 5760"/>
              <a:gd name="T9" fmla="*/ 0 h 61"/>
              <a:gd name="connsiteX0" fmla="*/ 8208 w 8208"/>
              <a:gd name="connsiteY0" fmla="*/ 0 h 10246"/>
              <a:gd name="connsiteX1" fmla="*/ 1729 w 8208"/>
              <a:gd name="connsiteY1" fmla="*/ 246 h 10246"/>
              <a:gd name="connsiteX2" fmla="*/ 1641 w 8208"/>
              <a:gd name="connsiteY2" fmla="*/ 10246 h 10246"/>
              <a:gd name="connsiteX3" fmla="*/ 1542 w 8208"/>
              <a:gd name="connsiteY3" fmla="*/ 246 h 10246"/>
              <a:gd name="connsiteX4" fmla="*/ 0 w 8208"/>
              <a:gd name="connsiteY4" fmla="*/ 246 h 10246"/>
              <a:gd name="connsiteX0" fmla="*/ 8265 w 8265"/>
              <a:gd name="connsiteY0" fmla="*/ 0 h 10000"/>
              <a:gd name="connsiteX1" fmla="*/ 2106 w 8265"/>
              <a:gd name="connsiteY1" fmla="*/ 240 h 10000"/>
              <a:gd name="connsiteX2" fmla="*/ 1999 w 8265"/>
              <a:gd name="connsiteY2" fmla="*/ 10000 h 10000"/>
              <a:gd name="connsiteX3" fmla="*/ 1879 w 8265"/>
              <a:gd name="connsiteY3" fmla="*/ 240 h 10000"/>
              <a:gd name="connsiteX4" fmla="*/ 0 w 8265"/>
              <a:gd name="connsiteY4" fmla="*/ 240 h 10000"/>
              <a:gd name="connsiteX0" fmla="*/ 7374 w 7374"/>
              <a:gd name="connsiteY0" fmla="*/ 0 h 10000"/>
              <a:gd name="connsiteX1" fmla="*/ 2548 w 7374"/>
              <a:gd name="connsiteY1" fmla="*/ 240 h 10000"/>
              <a:gd name="connsiteX2" fmla="*/ 2419 w 7374"/>
              <a:gd name="connsiteY2" fmla="*/ 10000 h 10000"/>
              <a:gd name="connsiteX3" fmla="*/ 2273 w 7374"/>
              <a:gd name="connsiteY3" fmla="*/ 240 h 10000"/>
              <a:gd name="connsiteX4" fmla="*/ 0 w 7374"/>
              <a:gd name="connsiteY4" fmla="*/ 240 h 10000"/>
              <a:gd name="connsiteX0" fmla="*/ 8928 w 8928"/>
              <a:gd name="connsiteY0" fmla="*/ 0 h 10240"/>
              <a:gd name="connsiteX1" fmla="*/ 3455 w 8928"/>
              <a:gd name="connsiteY1" fmla="*/ 480 h 10240"/>
              <a:gd name="connsiteX2" fmla="*/ 3280 w 8928"/>
              <a:gd name="connsiteY2" fmla="*/ 10240 h 10240"/>
              <a:gd name="connsiteX3" fmla="*/ 3082 w 8928"/>
              <a:gd name="connsiteY3" fmla="*/ 480 h 10240"/>
              <a:gd name="connsiteX4" fmla="*/ 0 w 8928"/>
              <a:gd name="connsiteY4" fmla="*/ 480 h 10240"/>
              <a:gd name="connsiteX0" fmla="*/ 11411 w 11411"/>
              <a:gd name="connsiteY0" fmla="*/ 0 h 10000"/>
              <a:gd name="connsiteX1" fmla="*/ 5281 w 11411"/>
              <a:gd name="connsiteY1" fmla="*/ 469 h 10000"/>
              <a:gd name="connsiteX2" fmla="*/ 5085 w 11411"/>
              <a:gd name="connsiteY2" fmla="*/ 10000 h 10000"/>
              <a:gd name="connsiteX3" fmla="*/ 4863 w 11411"/>
              <a:gd name="connsiteY3" fmla="*/ 469 h 10000"/>
              <a:gd name="connsiteX4" fmla="*/ 0 w 11411"/>
              <a:gd name="connsiteY4" fmla="*/ 469 h 10000"/>
              <a:gd name="connsiteX0" fmla="*/ 12583 w 12583"/>
              <a:gd name="connsiteY0" fmla="*/ 0 h 10000"/>
              <a:gd name="connsiteX1" fmla="*/ 6453 w 12583"/>
              <a:gd name="connsiteY1" fmla="*/ 469 h 10000"/>
              <a:gd name="connsiteX2" fmla="*/ 6257 w 12583"/>
              <a:gd name="connsiteY2" fmla="*/ 10000 h 10000"/>
              <a:gd name="connsiteX3" fmla="*/ 6035 w 12583"/>
              <a:gd name="connsiteY3" fmla="*/ 469 h 10000"/>
              <a:gd name="connsiteX4" fmla="*/ 0 w 12583"/>
              <a:gd name="connsiteY4" fmla="*/ 469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583" h="10000">
                <a:moveTo>
                  <a:pt x="12583" y="0"/>
                </a:moveTo>
                <a:lnTo>
                  <a:pt x="6453" y="469"/>
                </a:lnTo>
                <a:cubicBezTo>
                  <a:pt x="6389" y="3646"/>
                  <a:pt x="6323" y="6823"/>
                  <a:pt x="6257" y="10000"/>
                </a:cubicBezTo>
                <a:cubicBezTo>
                  <a:pt x="6183" y="6823"/>
                  <a:pt x="6110" y="3646"/>
                  <a:pt x="6035" y="469"/>
                </a:cubicBezTo>
                <a:lnTo>
                  <a:pt x="0" y="469"/>
                </a:lnTo>
              </a:path>
            </a:pathLst>
          </a:custGeom>
          <a:noFill/>
          <a:ln w="7938" cap="rnd">
            <a:solidFill>
              <a:schemeClr val="bg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9060" tIns="49530" rIns="99060" bIns="49530" numCol="1" anchor="t" anchorCtr="0" compatLnSpc="1">
            <a:prstTxWarp prst="textNoShape">
              <a:avLst/>
            </a:prstTxWarp>
          </a:bodyPr>
          <a:lstStyle/>
          <a:p>
            <a:endParaRPr lang="en-US" sz="2288" dirty="0">
              <a:latin typeface="ＭＳ Ｐゴシック" panose="020B060007020508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0688826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0" y="1344363"/>
            <a:ext cx="9906000" cy="5513636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36805" y="784017"/>
            <a:ext cx="9186273" cy="333489"/>
          </a:xfr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white">
          <a:xfrm>
            <a:off x="337939" y="6547380"/>
            <a:ext cx="3136900" cy="10002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>
              <a:defRPr lang="en-US" smtClean="0"/>
            </a:lvl1pPr>
          </a:lstStyle>
          <a:p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 bwMode="white">
          <a:xfrm>
            <a:off x="337940" y="6401048"/>
            <a:ext cx="2773163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650" dirty="0">
                <a:solidFill>
                  <a:schemeClr val="tx1"/>
                </a:solidFill>
                <a:latin typeface="ＭＳ Ｐゴシック" panose="020B0600070205080204" pitchFamily="50" charset="-128"/>
              </a:rPr>
              <a:t>PwC’s Digital</a:t>
            </a:r>
            <a:r>
              <a:rPr lang="en-US" sz="650" baseline="0" dirty="0">
                <a:solidFill>
                  <a:schemeClr val="tx1"/>
                </a:solidFill>
                <a:latin typeface="ＭＳ Ｐゴシック" panose="020B0600070205080204" pitchFamily="50" charset="-128"/>
              </a:rPr>
              <a:t> Services</a:t>
            </a:r>
            <a:endParaRPr lang="en-US" sz="650" dirty="0">
              <a:solidFill>
                <a:schemeClr val="tx1"/>
              </a:solidFill>
              <a:latin typeface="ＭＳ Ｐゴシック" panose="020B0600070205080204" pitchFamily="50" charset="-128"/>
            </a:endParaRPr>
          </a:p>
        </p:txBody>
      </p:sp>
      <p:grpSp>
        <p:nvGrpSpPr>
          <p:cNvPr id="7" name="Group 6"/>
          <p:cNvGrpSpPr/>
          <p:nvPr userDrawn="1"/>
        </p:nvGrpSpPr>
        <p:grpSpPr>
          <a:xfrm>
            <a:off x="-3626" y="1330979"/>
            <a:ext cx="9903365" cy="139695"/>
            <a:chOff x="-3347" y="998234"/>
            <a:chExt cx="9141568" cy="104771"/>
          </a:xfrm>
        </p:grpSpPr>
        <p:sp>
          <p:nvSpPr>
            <p:cNvPr id="16" name="Isosceles Triangle 15"/>
            <p:cNvSpPr/>
            <p:nvPr userDrawn="1"/>
          </p:nvSpPr>
          <p:spPr bwMode="white">
            <a:xfrm flipV="1">
              <a:off x="976383" y="998234"/>
              <a:ext cx="199956" cy="97328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288" dirty="0">
                <a:latin typeface="ＭＳ Ｐゴシック" panose="020B0600070205080204" pitchFamily="50" charset="-128"/>
              </a:endParaRPr>
            </a:p>
          </p:txBody>
        </p:sp>
        <p:sp>
          <p:nvSpPr>
            <p:cNvPr id="11" name="Freeform 5"/>
            <p:cNvSpPr>
              <a:spLocks/>
            </p:cNvSpPr>
            <p:nvPr userDrawn="1"/>
          </p:nvSpPr>
          <p:spPr bwMode="auto">
            <a:xfrm>
              <a:off x="-3347" y="1004580"/>
              <a:ext cx="9141568" cy="98425"/>
            </a:xfrm>
            <a:custGeom>
              <a:avLst/>
              <a:gdLst>
                <a:gd name="T0" fmla="*/ 5760 w 5760"/>
                <a:gd name="T1" fmla="*/ 0 h 62"/>
                <a:gd name="T2" fmla="*/ 996 w 5760"/>
                <a:gd name="T3" fmla="*/ 0 h 62"/>
                <a:gd name="T4" fmla="*/ 945 w 5760"/>
                <a:gd name="T5" fmla="*/ 62 h 62"/>
                <a:gd name="T6" fmla="*/ 888 w 5760"/>
                <a:gd name="T7" fmla="*/ 0 h 62"/>
                <a:gd name="T8" fmla="*/ 0 w 5760"/>
                <a:gd name="T9" fmla="*/ 0 h 62"/>
                <a:gd name="connsiteX0" fmla="*/ 9544 w 9544"/>
                <a:gd name="connsiteY0" fmla="*/ 0 h 10000"/>
                <a:gd name="connsiteX1" fmla="*/ 1273 w 9544"/>
                <a:gd name="connsiteY1" fmla="*/ 0 h 10000"/>
                <a:gd name="connsiteX2" fmla="*/ 1185 w 9544"/>
                <a:gd name="connsiteY2" fmla="*/ 10000 h 10000"/>
                <a:gd name="connsiteX3" fmla="*/ 1086 w 9544"/>
                <a:gd name="connsiteY3" fmla="*/ 0 h 10000"/>
                <a:gd name="connsiteX4" fmla="*/ 0 w 9544"/>
                <a:gd name="connsiteY4" fmla="*/ 0 h 10000"/>
                <a:gd name="connsiteX0" fmla="*/ 10196 w 10196"/>
                <a:gd name="connsiteY0" fmla="*/ 0 h 10000"/>
                <a:gd name="connsiteX1" fmla="*/ 1334 w 10196"/>
                <a:gd name="connsiteY1" fmla="*/ 0 h 10000"/>
                <a:gd name="connsiteX2" fmla="*/ 1242 w 10196"/>
                <a:gd name="connsiteY2" fmla="*/ 10000 h 10000"/>
                <a:gd name="connsiteX3" fmla="*/ 1138 w 10196"/>
                <a:gd name="connsiteY3" fmla="*/ 0 h 10000"/>
                <a:gd name="connsiteX4" fmla="*/ 0 w 10196"/>
                <a:gd name="connsiteY4" fmla="*/ 0 h 10000"/>
                <a:gd name="connsiteX0" fmla="*/ 10341 w 10341"/>
                <a:gd name="connsiteY0" fmla="*/ 0 h 10000"/>
                <a:gd name="connsiteX1" fmla="*/ 1334 w 10341"/>
                <a:gd name="connsiteY1" fmla="*/ 0 h 10000"/>
                <a:gd name="connsiteX2" fmla="*/ 1242 w 10341"/>
                <a:gd name="connsiteY2" fmla="*/ 10000 h 10000"/>
                <a:gd name="connsiteX3" fmla="*/ 1138 w 10341"/>
                <a:gd name="connsiteY3" fmla="*/ 0 h 10000"/>
                <a:gd name="connsiteX4" fmla="*/ 0 w 10341"/>
                <a:gd name="connsiteY4" fmla="*/ 0 h 10000"/>
                <a:gd name="connsiteX0" fmla="*/ 10475 w 10475"/>
                <a:gd name="connsiteY0" fmla="*/ 0 h 10000"/>
                <a:gd name="connsiteX1" fmla="*/ 1334 w 10475"/>
                <a:gd name="connsiteY1" fmla="*/ 0 h 10000"/>
                <a:gd name="connsiteX2" fmla="*/ 1242 w 10475"/>
                <a:gd name="connsiteY2" fmla="*/ 10000 h 10000"/>
                <a:gd name="connsiteX3" fmla="*/ 1138 w 10475"/>
                <a:gd name="connsiteY3" fmla="*/ 0 h 10000"/>
                <a:gd name="connsiteX4" fmla="*/ 0 w 10475"/>
                <a:gd name="connsiteY4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475" h="10000">
                  <a:moveTo>
                    <a:pt x="10475" y="0"/>
                  </a:moveTo>
                  <a:lnTo>
                    <a:pt x="1334" y="0"/>
                  </a:lnTo>
                  <a:cubicBezTo>
                    <a:pt x="1303" y="3333"/>
                    <a:pt x="1272" y="6667"/>
                    <a:pt x="1242" y="10000"/>
                  </a:cubicBezTo>
                  <a:cubicBezTo>
                    <a:pt x="1207" y="6667"/>
                    <a:pt x="1172" y="3333"/>
                    <a:pt x="1138" y="0"/>
                  </a:cubicBezTo>
                  <a:lnTo>
                    <a:pt x="0" y="0"/>
                  </a:lnTo>
                </a:path>
              </a:pathLst>
            </a:custGeom>
            <a:noFill/>
            <a:ln w="7938" cap="rnd">
              <a:solidFill>
                <a:srgbClr val="E1301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288" dirty="0">
                <a:latin typeface="ＭＳ Ｐゴシック" panose="020B0600070205080204" pitchFamily="50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0711658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Header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オブジェクト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53418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40" name="think-cell スライド" r:id="rId4" imgW="473" imgH="473" progId="TCLayout.ActiveDocument.1">
                  <p:embed/>
                </p:oleObj>
              </mc:Choice>
              <mc:Fallback>
                <p:oleObj name="think-cell スライド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36805" y="145381"/>
            <a:ext cx="9186273" cy="443198"/>
          </a:xfr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3200" dirty="0"/>
            </a:lvl1pPr>
          </a:lstStyle>
          <a:p>
            <a:pPr lvl="0"/>
            <a:r>
              <a:rPr lang="en-US" dirty="0"/>
              <a:t>Click to edit master title</a:t>
            </a:r>
          </a:p>
        </p:txBody>
      </p:sp>
      <p:grpSp>
        <p:nvGrpSpPr>
          <p:cNvPr id="7" name="Group 6"/>
          <p:cNvGrpSpPr/>
          <p:nvPr userDrawn="1"/>
        </p:nvGrpSpPr>
        <p:grpSpPr>
          <a:xfrm>
            <a:off x="-3626" y="757239"/>
            <a:ext cx="9903365" cy="139695"/>
            <a:chOff x="-3347" y="998234"/>
            <a:chExt cx="9141568" cy="104771"/>
          </a:xfrm>
        </p:grpSpPr>
        <p:sp>
          <p:nvSpPr>
            <p:cNvPr id="16" name="Isosceles Triangle 15"/>
            <p:cNvSpPr/>
            <p:nvPr userDrawn="1"/>
          </p:nvSpPr>
          <p:spPr bwMode="white">
            <a:xfrm flipV="1">
              <a:off x="976383" y="998234"/>
              <a:ext cx="199956" cy="97328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288" dirty="0">
                <a:latin typeface="ＭＳ Ｐゴシック" panose="020B0600070205080204" pitchFamily="50" charset="-128"/>
              </a:endParaRPr>
            </a:p>
          </p:txBody>
        </p:sp>
        <p:sp>
          <p:nvSpPr>
            <p:cNvPr id="11" name="Freeform 5"/>
            <p:cNvSpPr>
              <a:spLocks/>
            </p:cNvSpPr>
            <p:nvPr userDrawn="1"/>
          </p:nvSpPr>
          <p:spPr bwMode="auto">
            <a:xfrm>
              <a:off x="-3347" y="1004580"/>
              <a:ext cx="9141568" cy="98425"/>
            </a:xfrm>
            <a:custGeom>
              <a:avLst/>
              <a:gdLst>
                <a:gd name="T0" fmla="*/ 5760 w 5760"/>
                <a:gd name="T1" fmla="*/ 0 h 62"/>
                <a:gd name="T2" fmla="*/ 996 w 5760"/>
                <a:gd name="T3" fmla="*/ 0 h 62"/>
                <a:gd name="T4" fmla="*/ 945 w 5760"/>
                <a:gd name="T5" fmla="*/ 62 h 62"/>
                <a:gd name="T6" fmla="*/ 888 w 5760"/>
                <a:gd name="T7" fmla="*/ 0 h 62"/>
                <a:gd name="T8" fmla="*/ 0 w 5760"/>
                <a:gd name="T9" fmla="*/ 0 h 62"/>
                <a:gd name="connsiteX0" fmla="*/ 9544 w 9544"/>
                <a:gd name="connsiteY0" fmla="*/ 0 h 10000"/>
                <a:gd name="connsiteX1" fmla="*/ 1273 w 9544"/>
                <a:gd name="connsiteY1" fmla="*/ 0 h 10000"/>
                <a:gd name="connsiteX2" fmla="*/ 1185 w 9544"/>
                <a:gd name="connsiteY2" fmla="*/ 10000 h 10000"/>
                <a:gd name="connsiteX3" fmla="*/ 1086 w 9544"/>
                <a:gd name="connsiteY3" fmla="*/ 0 h 10000"/>
                <a:gd name="connsiteX4" fmla="*/ 0 w 9544"/>
                <a:gd name="connsiteY4" fmla="*/ 0 h 10000"/>
                <a:gd name="connsiteX0" fmla="*/ 10196 w 10196"/>
                <a:gd name="connsiteY0" fmla="*/ 0 h 10000"/>
                <a:gd name="connsiteX1" fmla="*/ 1334 w 10196"/>
                <a:gd name="connsiteY1" fmla="*/ 0 h 10000"/>
                <a:gd name="connsiteX2" fmla="*/ 1242 w 10196"/>
                <a:gd name="connsiteY2" fmla="*/ 10000 h 10000"/>
                <a:gd name="connsiteX3" fmla="*/ 1138 w 10196"/>
                <a:gd name="connsiteY3" fmla="*/ 0 h 10000"/>
                <a:gd name="connsiteX4" fmla="*/ 0 w 10196"/>
                <a:gd name="connsiteY4" fmla="*/ 0 h 10000"/>
                <a:gd name="connsiteX0" fmla="*/ 10341 w 10341"/>
                <a:gd name="connsiteY0" fmla="*/ 0 h 10000"/>
                <a:gd name="connsiteX1" fmla="*/ 1334 w 10341"/>
                <a:gd name="connsiteY1" fmla="*/ 0 h 10000"/>
                <a:gd name="connsiteX2" fmla="*/ 1242 w 10341"/>
                <a:gd name="connsiteY2" fmla="*/ 10000 h 10000"/>
                <a:gd name="connsiteX3" fmla="*/ 1138 w 10341"/>
                <a:gd name="connsiteY3" fmla="*/ 0 h 10000"/>
                <a:gd name="connsiteX4" fmla="*/ 0 w 10341"/>
                <a:gd name="connsiteY4" fmla="*/ 0 h 10000"/>
                <a:gd name="connsiteX0" fmla="*/ 10475 w 10475"/>
                <a:gd name="connsiteY0" fmla="*/ 0 h 10000"/>
                <a:gd name="connsiteX1" fmla="*/ 1334 w 10475"/>
                <a:gd name="connsiteY1" fmla="*/ 0 h 10000"/>
                <a:gd name="connsiteX2" fmla="*/ 1242 w 10475"/>
                <a:gd name="connsiteY2" fmla="*/ 10000 h 10000"/>
                <a:gd name="connsiteX3" fmla="*/ 1138 w 10475"/>
                <a:gd name="connsiteY3" fmla="*/ 0 h 10000"/>
                <a:gd name="connsiteX4" fmla="*/ 0 w 10475"/>
                <a:gd name="connsiteY4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475" h="10000">
                  <a:moveTo>
                    <a:pt x="10475" y="0"/>
                  </a:moveTo>
                  <a:lnTo>
                    <a:pt x="1334" y="0"/>
                  </a:lnTo>
                  <a:cubicBezTo>
                    <a:pt x="1303" y="3333"/>
                    <a:pt x="1272" y="6667"/>
                    <a:pt x="1242" y="10000"/>
                  </a:cubicBezTo>
                  <a:cubicBezTo>
                    <a:pt x="1207" y="6667"/>
                    <a:pt x="1172" y="3333"/>
                    <a:pt x="1138" y="0"/>
                  </a:cubicBezTo>
                  <a:lnTo>
                    <a:pt x="0" y="0"/>
                  </a:lnTo>
                </a:path>
              </a:pathLst>
            </a:custGeom>
            <a:noFill/>
            <a:ln w="7938" cap="rnd">
              <a:solidFill>
                <a:srgbClr val="E1301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288" dirty="0">
                <a:latin typeface="ＭＳ Ｐゴシック" panose="020B0600070205080204" pitchFamily="50" charset="-128"/>
              </a:endParaRPr>
            </a:p>
          </p:txBody>
        </p:sp>
      </p:grpSp>
      <p:sp>
        <p:nvSpPr>
          <p:cNvPr id="10" name="スライド番号プレースホルダー 5"/>
          <p:cNvSpPr txBox="1">
            <a:spLocks/>
          </p:cNvSpPr>
          <p:nvPr userDrawn="1"/>
        </p:nvSpPr>
        <p:spPr>
          <a:xfrm>
            <a:off x="9323304" y="6463926"/>
            <a:ext cx="34991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r" defTabSz="914400" rtl="0" eaLnBrk="1" latinLnBrk="0" hangingPunct="1">
              <a:defRPr kumimoji="1" sz="975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06B2653-D1AD-46BA-BB88-3123B5BA212E}" type="slidenum">
              <a:rPr lang="en-US" smtClean="0">
                <a:latin typeface="ＭＳ Ｐゴシック" panose="020B0600070205080204" pitchFamily="50" charset="-128"/>
              </a:rPr>
              <a:pPr/>
              <a:t>‹#›</a:t>
            </a:fld>
            <a:endParaRPr lang="en-US" dirty="0">
              <a:latin typeface="ＭＳ Ｐゴシック" panose="020B060007020508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65882934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179999" y="360000"/>
            <a:ext cx="9360000" cy="540000"/>
          </a:xfrm>
          <a:prstGeom prst="rect">
            <a:avLst/>
          </a:prstGeom>
        </p:spPr>
        <p:txBody>
          <a:bodyPr vert="horz" wrap="none" lIns="90000" tIns="90000" rIns="90000" bIns="90000" rtlCol="0" anchor="ctr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>
          <a:xfrm>
            <a:off x="180000" y="1440000"/>
            <a:ext cx="360000" cy="360000"/>
          </a:xfrm>
          <a:prstGeom prst="rect">
            <a:avLst/>
          </a:prstGeom>
        </p:spPr>
        <p:txBody>
          <a:bodyPr vert="horz" wrap="none" lIns="90000" tIns="90000" rIns="90000" bIns="9000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274904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675878" y="1709739"/>
            <a:ext cx="8543925" cy="2852737"/>
          </a:xfrm>
        </p:spPr>
        <p:txBody>
          <a:bodyPr anchor="b"/>
          <a:lstStyle>
            <a:lvl1pPr>
              <a:defRPr sz="4875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675878" y="4589464"/>
            <a:ext cx="8543925" cy="1500187"/>
          </a:xfrm>
        </p:spPr>
        <p:txBody>
          <a:bodyPr/>
          <a:lstStyle>
            <a:lvl1pPr marL="0" indent="0">
              <a:buNone/>
              <a:defRPr sz="1950">
                <a:solidFill>
                  <a:schemeClr val="tx1">
                    <a:tint val="75000"/>
                  </a:schemeClr>
                </a:solidFill>
              </a:defRPr>
            </a:lvl1pPr>
            <a:lvl2pPr marL="371475" indent="0">
              <a:buNone/>
              <a:defRPr sz="1625">
                <a:solidFill>
                  <a:schemeClr val="tx1">
                    <a:tint val="75000"/>
                  </a:schemeClr>
                </a:solidFill>
              </a:defRPr>
            </a:lvl2pPr>
            <a:lvl3pPr marL="742950" indent="0">
              <a:buNone/>
              <a:defRPr sz="1463">
                <a:solidFill>
                  <a:schemeClr val="tx1">
                    <a:tint val="75000"/>
                  </a:schemeClr>
                </a:solidFill>
              </a:defRPr>
            </a:lvl3pPr>
            <a:lvl4pPr marL="11144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4pPr>
            <a:lvl5pPr marL="14859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5pPr>
            <a:lvl6pPr marL="185737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6pPr>
            <a:lvl7pPr marL="222885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7pPr>
            <a:lvl8pPr marL="26003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8pPr>
            <a:lvl9pPr marL="29718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71380199"/>
      </p:ext>
    </p:extLst>
  </p:cSld>
  <p:clrMapOvr>
    <a:masterClrMapping/>
  </p:clrMapOvr>
  <p:hf hdr="0" ftr="0" dt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Sm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5360" y="784017"/>
            <a:ext cx="9235281" cy="33348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5360" y="1744052"/>
            <a:ext cx="6044575" cy="1234312"/>
          </a:xfrm>
        </p:spPr>
        <p:txBody>
          <a:bodyPr/>
          <a:lstStyle>
            <a:lvl1pPr>
              <a:lnSpc>
                <a:spcPct val="110000"/>
              </a:lnSpc>
              <a:spcBef>
                <a:spcPts val="1950"/>
              </a:spcBef>
              <a:spcAft>
                <a:spcPts val="542"/>
              </a:spcAft>
              <a:defRPr sz="2167">
                <a:latin typeface="ＭＳ Ｐゴシック" panose="020B0600070205080204" pitchFamily="50" charset="-128"/>
              </a:defRPr>
            </a:lvl1pPr>
            <a:lvl2pPr marL="0" indent="0">
              <a:spcBef>
                <a:spcPts val="650"/>
              </a:spcBef>
              <a:buFontTx/>
              <a:buNone/>
              <a:defRPr sz="1517">
                <a:latin typeface="ＭＳ Ｐゴシック" panose="020B0600070205080204" pitchFamily="50" charset="-128"/>
              </a:defRPr>
            </a:lvl2pPr>
            <a:lvl3pPr>
              <a:defRPr sz="975"/>
            </a:lvl3pPr>
            <a:lvl4pPr>
              <a:defRPr sz="867"/>
            </a:lvl4pPr>
            <a:lvl5pPr>
              <a:defRPr sz="758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7939" y="6547380"/>
            <a:ext cx="3136900" cy="10002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>
              <a:defRPr lang="en-US" smtClean="0"/>
            </a:lvl1pPr>
          </a:lstStyle>
          <a:p>
            <a:endParaRPr lang="en-US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6583362" y="1778001"/>
            <a:ext cx="2987279" cy="233462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5695468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5360" y="641697"/>
            <a:ext cx="9235281" cy="533544"/>
          </a:xfrm>
        </p:spPr>
        <p:txBody>
          <a:bodyPr/>
          <a:lstStyle>
            <a:lvl1pPr>
              <a:defRPr sz="3467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5361" y="4989501"/>
            <a:ext cx="1668100" cy="611487"/>
          </a:xfrm>
        </p:spPr>
        <p:txBody>
          <a:bodyPr numCol="1">
            <a:noAutofit/>
          </a:bodyPr>
          <a:lstStyle>
            <a:lvl1pPr>
              <a:tabLst>
                <a:tab pos="189171" algn="l"/>
              </a:tabLst>
              <a:defRPr sz="867">
                <a:solidFill>
                  <a:schemeClr val="tx1"/>
                </a:solidFill>
                <a:latin typeface="ＭＳ Ｐゴシック" panose="020B0600070205080204" pitchFamily="50" charset="-128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7939" y="6547380"/>
            <a:ext cx="3136900" cy="10002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>
              <a:defRPr lang="en-US" smtClean="0"/>
            </a:lvl1pPr>
          </a:lstStyle>
          <a:p>
            <a:endParaRPr lang="en-US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553268" y="5013321"/>
            <a:ext cx="2749946" cy="104965"/>
          </a:xfrm>
        </p:spPr>
        <p:txBody>
          <a:bodyPr/>
          <a:lstStyle>
            <a:lvl1pPr>
              <a:lnSpc>
                <a:spcPct val="90000"/>
              </a:lnSpc>
              <a:spcBef>
                <a:spcPts val="325"/>
              </a:spcBef>
              <a:defRPr sz="758">
                <a:solidFill>
                  <a:schemeClr val="tx2"/>
                </a:solidFill>
                <a:latin typeface="ＭＳ Ｐゴシック" panose="020B0600070205080204" pitchFamily="50" charset="-128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5786915" y="5013322"/>
            <a:ext cx="737364" cy="1049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ts val="325"/>
              </a:spcBef>
            </a:pPr>
            <a:r>
              <a:rPr lang="en-US" sz="758" dirty="0">
                <a:solidFill>
                  <a:schemeClr val="tx2"/>
                </a:solidFill>
                <a:latin typeface="ＭＳ Ｐゴシック" panose="020B0600070205080204" pitchFamily="50" charset="-128"/>
              </a:rPr>
              <a:t>Contacts: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337940" y="6401048"/>
            <a:ext cx="2773163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650" dirty="0">
                <a:latin typeface="ＭＳ Ｐゴシック" panose="020B0600070205080204" pitchFamily="50" charset="-128"/>
              </a:rPr>
              <a:t>PwC’s Digital</a:t>
            </a:r>
            <a:r>
              <a:rPr lang="en-US" sz="650" baseline="0" dirty="0">
                <a:latin typeface="ＭＳ Ｐゴシック" panose="020B0600070205080204" pitchFamily="50" charset="-128"/>
              </a:rPr>
              <a:t> Services</a:t>
            </a:r>
            <a:endParaRPr lang="en-US" sz="650" dirty="0">
              <a:latin typeface="ＭＳ Ｐゴシック" panose="020B0600070205080204" pitchFamily="50" charset="-128"/>
            </a:endParaRPr>
          </a:p>
        </p:txBody>
      </p:sp>
      <p:sp>
        <p:nvSpPr>
          <p:cNvPr id="13" name="Freeform 5"/>
          <p:cNvSpPr>
            <a:spLocks/>
          </p:cNvSpPr>
          <p:nvPr userDrawn="1"/>
        </p:nvSpPr>
        <p:spPr bwMode="auto">
          <a:xfrm>
            <a:off x="-10318" y="4461420"/>
            <a:ext cx="9903365" cy="131233"/>
          </a:xfrm>
          <a:custGeom>
            <a:avLst/>
            <a:gdLst>
              <a:gd name="T0" fmla="*/ 5760 w 5760"/>
              <a:gd name="T1" fmla="*/ 0 h 62"/>
              <a:gd name="T2" fmla="*/ 996 w 5760"/>
              <a:gd name="T3" fmla="*/ 0 h 62"/>
              <a:gd name="T4" fmla="*/ 945 w 5760"/>
              <a:gd name="T5" fmla="*/ 62 h 62"/>
              <a:gd name="T6" fmla="*/ 888 w 5760"/>
              <a:gd name="T7" fmla="*/ 0 h 62"/>
              <a:gd name="T8" fmla="*/ 0 w 5760"/>
              <a:gd name="T9" fmla="*/ 0 h 62"/>
              <a:gd name="connsiteX0" fmla="*/ 9544 w 9544"/>
              <a:gd name="connsiteY0" fmla="*/ 0 h 10000"/>
              <a:gd name="connsiteX1" fmla="*/ 1273 w 9544"/>
              <a:gd name="connsiteY1" fmla="*/ 0 h 10000"/>
              <a:gd name="connsiteX2" fmla="*/ 1185 w 9544"/>
              <a:gd name="connsiteY2" fmla="*/ 10000 h 10000"/>
              <a:gd name="connsiteX3" fmla="*/ 1086 w 9544"/>
              <a:gd name="connsiteY3" fmla="*/ 0 h 10000"/>
              <a:gd name="connsiteX4" fmla="*/ 0 w 9544"/>
              <a:gd name="connsiteY4" fmla="*/ 0 h 10000"/>
              <a:gd name="connsiteX0" fmla="*/ 10196 w 10196"/>
              <a:gd name="connsiteY0" fmla="*/ 0 h 10000"/>
              <a:gd name="connsiteX1" fmla="*/ 1334 w 10196"/>
              <a:gd name="connsiteY1" fmla="*/ 0 h 10000"/>
              <a:gd name="connsiteX2" fmla="*/ 1242 w 10196"/>
              <a:gd name="connsiteY2" fmla="*/ 10000 h 10000"/>
              <a:gd name="connsiteX3" fmla="*/ 1138 w 10196"/>
              <a:gd name="connsiteY3" fmla="*/ 0 h 10000"/>
              <a:gd name="connsiteX4" fmla="*/ 0 w 10196"/>
              <a:gd name="connsiteY4" fmla="*/ 0 h 10000"/>
              <a:gd name="connsiteX0" fmla="*/ 10341 w 10341"/>
              <a:gd name="connsiteY0" fmla="*/ 0 h 10000"/>
              <a:gd name="connsiteX1" fmla="*/ 1334 w 10341"/>
              <a:gd name="connsiteY1" fmla="*/ 0 h 10000"/>
              <a:gd name="connsiteX2" fmla="*/ 1242 w 10341"/>
              <a:gd name="connsiteY2" fmla="*/ 10000 h 10000"/>
              <a:gd name="connsiteX3" fmla="*/ 1138 w 10341"/>
              <a:gd name="connsiteY3" fmla="*/ 0 h 10000"/>
              <a:gd name="connsiteX4" fmla="*/ 0 w 10341"/>
              <a:gd name="connsiteY4" fmla="*/ 0 h 10000"/>
              <a:gd name="connsiteX0" fmla="*/ 10475 w 10475"/>
              <a:gd name="connsiteY0" fmla="*/ 0 h 10000"/>
              <a:gd name="connsiteX1" fmla="*/ 1334 w 10475"/>
              <a:gd name="connsiteY1" fmla="*/ 0 h 10000"/>
              <a:gd name="connsiteX2" fmla="*/ 1242 w 10475"/>
              <a:gd name="connsiteY2" fmla="*/ 10000 h 10000"/>
              <a:gd name="connsiteX3" fmla="*/ 1138 w 10475"/>
              <a:gd name="connsiteY3" fmla="*/ 0 h 10000"/>
              <a:gd name="connsiteX4" fmla="*/ 0 w 10475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75" h="10000">
                <a:moveTo>
                  <a:pt x="10475" y="0"/>
                </a:moveTo>
                <a:lnTo>
                  <a:pt x="1334" y="0"/>
                </a:lnTo>
                <a:cubicBezTo>
                  <a:pt x="1303" y="3333"/>
                  <a:pt x="1272" y="6667"/>
                  <a:pt x="1242" y="10000"/>
                </a:cubicBezTo>
                <a:cubicBezTo>
                  <a:pt x="1207" y="6667"/>
                  <a:pt x="1172" y="3333"/>
                  <a:pt x="1138" y="0"/>
                </a:cubicBezTo>
                <a:lnTo>
                  <a:pt x="0" y="0"/>
                </a:lnTo>
              </a:path>
            </a:pathLst>
          </a:custGeom>
          <a:noFill/>
          <a:ln w="7938" cap="rnd">
            <a:solidFill>
              <a:srgbClr val="E1301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9060" tIns="49530" rIns="99060" bIns="49530" numCol="1" anchor="t" anchorCtr="0" compatLnSpc="1">
            <a:prstTxWarp prst="textNoShape">
              <a:avLst/>
            </a:prstTxWarp>
          </a:bodyPr>
          <a:lstStyle/>
          <a:p>
            <a:endParaRPr lang="en-US" sz="2288" dirty="0">
              <a:latin typeface="ＭＳ Ｐゴシック" panose="020B0600070205080204" pitchFamily="50" charset="-128"/>
            </a:endParaRPr>
          </a:p>
        </p:txBody>
      </p:sp>
      <p:sp>
        <p:nvSpPr>
          <p:cNvPr id="14" name="Content Placeholder 2"/>
          <p:cNvSpPr>
            <a:spLocks noGrp="1"/>
          </p:cNvSpPr>
          <p:nvPr>
            <p:ph idx="14"/>
          </p:nvPr>
        </p:nvSpPr>
        <p:spPr>
          <a:xfrm>
            <a:off x="2093955" y="4989501"/>
            <a:ext cx="1668100" cy="611487"/>
          </a:xfrm>
        </p:spPr>
        <p:txBody>
          <a:bodyPr numCol="1">
            <a:noAutofit/>
          </a:bodyPr>
          <a:lstStyle>
            <a:lvl1pPr>
              <a:tabLst>
                <a:tab pos="189171" algn="l"/>
              </a:tabLst>
              <a:defRPr sz="867">
                <a:solidFill>
                  <a:schemeClr val="tx1"/>
                </a:solidFill>
                <a:latin typeface="ＭＳ Ｐゴシック" panose="020B0600070205080204" pitchFamily="50" charset="-128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4392711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ork Showcase Cover"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9906000" cy="6858000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white">
          <a:xfrm>
            <a:off x="335360" y="577004"/>
            <a:ext cx="3656833" cy="933461"/>
          </a:xfrm>
        </p:spPr>
        <p:txBody>
          <a:bodyPr anchor="t" anchorCtr="0"/>
          <a:lstStyle>
            <a:lvl1pPr>
              <a:defRPr sz="3033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white">
          <a:xfrm>
            <a:off x="337940" y="2991110"/>
            <a:ext cx="2879648" cy="611487"/>
          </a:xfrm>
        </p:spPr>
        <p:txBody>
          <a:bodyPr numCol="1">
            <a:noAutofit/>
          </a:bodyPr>
          <a:lstStyle>
            <a:lvl1pPr>
              <a:tabLst>
                <a:tab pos="309553" algn="l"/>
              </a:tabLst>
              <a:defRPr sz="758" cap="all" spc="0" baseline="0">
                <a:solidFill>
                  <a:schemeClr val="bg1"/>
                </a:solidFill>
                <a:latin typeface="ＭＳ Ｐゴシック" panose="020B0600070205080204" pitchFamily="50" charset="-128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7939" y="6547380"/>
            <a:ext cx="3136900" cy="10002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marL="0" algn="l" defTabSz="990570" rtl="0" eaLnBrk="1" latinLnBrk="0" hangingPunct="1">
              <a:defRPr lang="en-US" sz="650" kern="1200" smtClean="0">
                <a:solidFill>
                  <a:schemeClr val="bg1"/>
                </a:solidFill>
                <a:latin typeface="ＭＳ Ｐゴシック" panose="020B0600070205080204" pitchFamily="50" charset="-128"/>
                <a:ea typeface="+mn-ea"/>
                <a:cs typeface="+mn-cs"/>
              </a:defRPr>
            </a:lvl1pPr>
          </a:lstStyle>
          <a:p>
            <a:endParaRPr lang="ja-JP" altLang="en-US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337940" y="6401048"/>
            <a:ext cx="2773163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650" dirty="0">
                <a:solidFill>
                  <a:schemeClr val="bg1"/>
                </a:solidFill>
                <a:latin typeface="ＭＳ Ｐゴシック" panose="020B0600070205080204" pitchFamily="50" charset="-128"/>
              </a:rPr>
              <a:t>PwC’s Digital</a:t>
            </a:r>
            <a:r>
              <a:rPr lang="en-US" sz="650" baseline="0" dirty="0">
                <a:solidFill>
                  <a:schemeClr val="bg1"/>
                </a:solidFill>
                <a:latin typeface="ＭＳ Ｐゴシック" panose="020B0600070205080204" pitchFamily="50" charset="-128"/>
              </a:rPr>
              <a:t> Services</a:t>
            </a:r>
            <a:endParaRPr lang="en-US" sz="650" dirty="0">
              <a:solidFill>
                <a:schemeClr val="bg1"/>
              </a:solidFill>
              <a:latin typeface="ＭＳ Ｐゴシック" panose="020B0600070205080204" pitchFamily="50" charset="-128"/>
            </a:endParaRPr>
          </a:p>
        </p:txBody>
      </p:sp>
      <p:sp>
        <p:nvSpPr>
          <p:cNvPr id="14" name="Content Placeholder 2"/>
          <p:cNvSpPr>
            <a:spLocks noGrp="1"/>
          </p:cNvSpPr>
          <p:nvPr>
            <p:ph idx="14"/>
          </p:nvPr>
        </p:nvSpPr>
        <p:spPr bwMode="white">
          <a:xfrm>
            <a:off x="337940" y="3733629"/>
            <a:ext cx="2879648" cy="611487"/>
          </a:xfrm>
        </p:spPr>
        <p:txBody>
          <a:bodyPr numCol="1">
            <a:noAutofit/>
          </a:bodyPr>
          <a:lstStyle>
            <a:lvl1pPr>
              <a:tabLst>
                <a:tab pos="309553" algn="l"/>
              </a:tabLst>
              <a:defRPr sz="758" cap="all" spc="0" baseline="0">
                <a:solidFill>
                  <a:schemeClr val="bg1"/>
                </a:solidFill>
                <a:latin typeface="ＭＳ Ｐゴシック" panose="020B0600070205080204" pitchFamily="50" charset="-128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5" name="Straight Connector 14"/>
          <p:cNvCxnSpPr/>
          <p:nvPr userDrawn="1"/>
        </p:nvCxnSpPr>
        <p:spPr bwMode="white">
          <a:xfrm flipV="1">
            <a:off x="337939" y="3521635"/>
            <a:ext cx="637765" cy="3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528672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ork Showcas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 userDrawn="1"/>
        </p:nvGrpSpPr>
        <p:grpSpPr>
          <a:xfrm>
            <a:off x="3240000" y="0"/>
            <a:ext cx="90000" cy="6840000"/>
            <a:chOff x="3079705" y="14764"/>
            <a:chExt cx="109252" cy="5138755"/>
          </a:xfrm>
        </p:grpSpPr>
        <p:sp>
          <p:nvSpPr>
            <p:cNvPr id="14" name="Isosceles Triangle 13"/>
            <p:cNvSpPr/>
            <p:nvPr userDrawn="1"/>
          </p:nvSpPr>
          <p:spPr bwMode="white">
            <a:xfrm rot="5400000">
              <a:off x="3048850" y="2543560"/>
              <a:ext cx="170962" cy="109252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288" dirty="0">
                <a:latin typeface="ＭＳ Ｐゴシック" panose="020B0600070205080204" pitchFamily="50" charset="-128"/>
              </a:endParaRPr>
            </a:p>
          </p:txBody>
        </p:sp>
        <p:sp>
          <p:nvSpPr>
            <p:cNvPr id="19" name="Freeform 5"/>
            <p:cNvSpPr>
              <a:spLocks/>
            </p:cNvSpPr>
            <p:nvPr userDrawn="1"/>
          </p:nvSpPr>
          <p:spPr bwMode="auto">
            <a:xfrm rot="16200000">
              <a:off x="568778" y="2533341"/>
              <a:ext cx="5138755" cy="101601"/>
            </a:xfrm>
            <a:custGeom>
              <a:avLst/>
              <a:gdLst>
                <a:gd name="T0" fmla="*/ 5760 w 5760"/>
                <a:gd name="T1" fmla="*/ 0 h 61"/>
                <a:gd name="T2" fmla="*/ 996 w 5760"/>
                <a:gd name="T3" fmla="*/ 0 h 61"/>
                <a:gd name="T4" fmla="*/ 945 w 5760"/>
                <a:gd name="T5" fmla="*/ 61 h 61"/>
                <a:gd name="T6" fmla="*/ 888 w 5760"/>
                <a:gd name="T7" fmla="*/ 0 h 61"/>
                <a:gd name="T8" fmla="*/ 0 w 5760"/>
                <a:gd name="T9" fmla="*/ 0 h 61"/>
                <a:gd name="connsiteX0" fmla="*/ 8208 w 8208"/>
                <a:gd name="connsiteY0" fmla="*/ 0 h 10246"/>
                <a:gd name="connsiteX1" fmla="*/ 1729 w 8208"/>
                <a:gd name="connsiteY1" fmla="*/ 246 h 10246"/>
                <a:gd name="connsiteX2" fmla="*/ 1641 w 8208"/>
                <a:gd name="connsiteY2" fmla="*/ 10246 h 10246"/>
                <a:gd name="connsiteX3" fmla="*/ 1542 w 8208"/>
                <a:gd name="connsiteY3" fmla="*/ 246 h 10246"/>
                <a:gd name="connsiteX4" fmla="*/ 0 w 8208"/>
                <a:gd name="connsiteY4" fmla="*/ 246 h 10246"/>
                <a:gd name="connsiteX0" fmla="*/ 8265 w 8265"/>
                <a:gd name="connsiteY0" fmla="*/ 0 h 10000"/>
                <a:gd name="connsiteX1" fmla="*/ 2106 w 8265"/>
                <a:gd name="connsiteY1" fmla="*/ 240 h 10000"/>
                <a:gd name="connsiteX2" fmla="*/ 1999 w 8265"/>
                <a:gd name="connsiteY2" fmla="*/ 10000 h 10000"/>
                <a:gd name="connsiteX3" fmla="*/ 1879 w 8265"/>
                <a:gd name="connsiteY3" fmla="*/ 240 h 10000"/>
                <a:gd name="connsiteX4" fmla="*/ 0 w 8265"/>
                <a:gd name="connsiteY4" fmla="*/ 240 h 10000"/>
                <a:gd name="connsiteX0" fmla="*/ 7374 w 7374"/>
                <a:gd name="connsiteY0" fmla="*/ 0 h 10000"/>
                <a:gd name="connsiteX1" fmla="*/ 2548 w 7374"/>
                <a:gd name="connsiteY1" fmla="*/ 240 h 10000"/>
                <a:gd name="connsiteX2" fmla="*/ 2419 w 7374"/>
                <a:gd name="connsiteY2" fmla="*/ 10000 h 10000"/>
                <a:gd name="connsiteX3" fmla="*/ 2273 w 7374"/>
                <a:gd name="connsiteY3" fmla="*/ 240 h 10000"/>
                <a:gd name="connsiteX4" fmla="*/ 0 w 7374"/>
                <a:gd name="connsiteY4" fmla="*/ 240 h 10000"/>
                <a:gd name="connsiteX0" fmla="*/ 8928 w 8928"/>
                <a:gd name="connsiteY0" fmla="*/ 0 h 10240"/>
                <a:gd name="connsiteX1" fmla="*/ 3455 w 8928"/>
                <a:gd name="connsiteY1" fmla="*/ 480 h 10240"/>
                <a:gd name="connsiteX2" fmla="*/ 3280 w 8928"/>
                <a:gd name="connsiteY2" fmla="*/ 10240 h 10240"/>
                <a:gd name="connsiteX3" fmla="*/ 3082 w 8928"/>
                <a:gd name="connsiteY3" fmla="*/ 480 h 10240"/>
                <a:gd name="connsiteX4" fmla="*/ 0 w 8928"/>
                <a:gd name="connsiteY4" fmla="*/ 480 h 10240"/>
                <a:gd name="connsiteX0" fmla="*/ 11411 w 11411"/>
                <a:gd name="connsiteY0" fmla="*/ 0 h 10000"/>
                <a:gd name="connsiteX1" fmla="*/ 5281 w 11411"/>
                <a:gd name="connsiteY1" fmla="*/ 469 h 10000"/>
                <a:gd name="connsiteX2" fmla="*/ 5085 w 11411"/>
                <a:gd name="connsiteY2" fmla="*/ 10000 h 10000"/>
                <a:gd name="connsiteX3" fmla="*/ 4863 w 11411"/>
                <a:gd name="connsiteY3" fmla="*/ 469 h 10000"/>
                <a:gd name="connsiteX4" fmla="*/ 0 w 11411"/>
                <a:gd name="connsiteY4" fmla="*/ 469 h 10000"/>
                <a:gd name="connsiteX0" fmla="*/ 12583 w 12583"/>
                <a:gd name="connsiteY0" fmla="*/ 0 h 10000"/>
                <a:gd name="connsiteX1" fmla="*/ 6453 w 12583"/>
                <a:gd name="connsiteY1" fmla="*/ 469 h 10000"/>
                <a:gd name="connsiteX2" fmla="*/ 6257 w 12583"/>
                <a:gd name="connsiteY2" fmla="*/ 10000 h 10000"/>
                <a:gd name="connsiteX3" fmla="*/ 6035 w 12583"/>
                <a:gd name="connsiteY3" fmla="*/ 469 h 10000"/>
                <a:gd name="connsiteX4" fmla="*/ 0 w 12583"/>
                <a:gd name="connsiteY4" fmla="*/ 469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583" h="10000">
                  <a:moveTo>
                    <a:pt x="12583" y="0"/>
                  </a:moveTo>
                  <a:lnTo>
                    <a:pt x="6453" y="469"/>
                  </a:lnTo>
                  <a:cubicBezTo>
                    <a:pt x="6389" y="3646"/>
                    <a:pt x="6323" y="6823"/>
                    <a:pt x="6257" y="10000"/>
                  </a:cubicBezTo>
                  <a:cubicBezTo>
                    <a:pt x="6183" y="6823"/>
                    <a:pt x="6110" y="3646"/>
                    <a:pt x="6035" y="469"/>
                  </a:cubicBezTo>
                  <a:lnTo>
                    <a:pt x="0" y="469"/>
                  </a:lnTo>
                </a:path>
              </a:pathLst>
            </a:custGeom>
            <a:noFill/>
            <a:ln w="7938" cap="rnd">
              <a:solidFill>
                <a:srgbClr val="E1301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288" dirty="0">
                <a:latin typeface="ＭＳ Ｐゴシック" panose="020B0600070205080204" pitchFamily="50" charset="-128"/>
              </a:endParaRPr>
            </a:p>
          </p:txBody>
        </p:sp>
      </p:grpSp>
      <p:sp>
        <p:nvSpPr>
          <p:cNvPr id="9" name="Rectangle 8"/>
          <p:cNvSpPr/>
          <p:nvPr userDrawn="1"/>
        </p:nvSpPr>
        <p:spPr bwMode="ltGray">
          <a:xfrm>
            <a:off x="8466703" y="-3836"/>
            <a:ext cx="1440060" cy="6875195"/>
          </a:xfrm>
          <a:custGeom>
            <a:avLst/>
            <a:gdLst>
              <a:gd name="connsiteX0" fmla="*/ 0 w 1331668"/>
              <a:gd name="connsiteY0" fmla="*/ 0 h 5154014"/>
              <a:gd name="connsiteX1" fmla="*/ 1331668 w 1331668"/>
              <a:gd name="connsiteY1" fmla="*/ 0 h 5154014"/>
              <a:gd name="connsiteX2" fmla="*/ 1331668 w 1331668"/>
              <a:gd name="connsiteY2" fmla="*/ 5154014 h 5154014"/>
              <a:gd name="connsiteX3" fmla="*/ 0 w 1331668"/>
              <a:gd name="connsiteY3" fmla="*/ 5154014 h 5154014"/>
              <a:gd name="connsiteX4" fmla="*/ 0 w 1331668"/>
              <a:gd name="connsiteY4" fmla="*/ 0 h 5154014"/>
              <a:gd name="connsiteX0" fmla="*/ 0 w 1331668"/>
              <a:gd name="connsiteY0" fmla="*/ 0 h 5154014"/>
              <a:gd name="connsiteX1" fmla="*/ 1331668 w 1331668"/>
              <a:gd name="connsiteY1" fmla="*/ 0 h 5154014"/>
              <a:gd name="connsiteX2" fmla="*/ 1331668 w 1331668"/>
              <a:gd name="connsiteY2" fmla="*/ 5154014 h 5154014"/>
              <a:gd name="connsiteX3" fmla="*/ 0 w 1331668"/>
              <a:gd name="connsiteY3" fmla="*/ 5154014 h 5154014"/>
              <a:gd name="connsiteX4" fmla="*/ 1943 w 1331668"/>
              <a:gd name="connsiteY4" fmla="*/ 2610953 h 5154014"/>
              <a:gd name="connsiteX5" fmla="*/ 0 w 1331668"/>
              <a:gd name="connsiteY5" fmla="*/ 0 h 5154014"/>
              <a:gd name="connsiteX0" fmla="*/ 0 w 1331668"/>
              <a:gd name="connsiteY0" fmla="*/ 0 h 5154014"/>
              <a:gd name="connsiteX1" fmla="*/ 1331668 w 1331668"/>
              <a:gd name="connsiteY1" fmla="*/ 0 h 5154014"/>
              <a:gd name="connsiteX2" fmla="*/ 1331668 w 1331668"/>
              <a:gd name="connsiteY2" fmla="*/ 5154014 h 5154014"/>
              <a:gd name="connsiteX3" fmla="*/ 0 w 1331668"/>
              <a:gd name="connsiteY3" fmla="*/ 5154014 h 5154014"/>
              <a:gd name="connsiteX4" fmla="*/ 1943 w 1331668"/>
              <a:gd name="connsiteY4" fmla="*/ 2535326 h 5154014"/>
              <a:gd name="connsiteX5" fmla="*/ 0 w 1331668"/>
              <a:gd name="connsiteY5" fmla="*/ 0 h 5154014"/>
              <a:gd name="connsiteX0" fmla="*/ 100376 w 1432044"/>
              <a:gd name="connsiteY0" fmla="*/ 0 h 5154014"/>
              <a:gd name="connsiteX1" fmla="*/ 1432044 w 1432044"/>
              <a:gd name="connsiteY1" fmla="*/ 0 h 5154014"/>
              <a:gd name="connsiteX2" fmla="*/ 1432044 w 1432044"/>
              <a:gd name="connsiteY2" fmla="*/ 5154014 h 5154014"/>
              <a:gd name="connsiteX3" fmla="*/ 100376 w 1432044"/>
              <a:gd name="connsiteY3" fmla="*/ 5154014 h 5154014"/>
              <a:gd name="connsiteX4" fmla="*/ 95443 w 1432044"/>
              <a:gd name="connsiteY4" fmla="*/ 2707206 h 5154014"/>
              <a:gd name="connsiteX5" fmla="*/ 102319 w 1432044"/>
              <a:gd name="connsiteY5" fmla="*/ 2535326 h 5154014"/>
              <a:gd name="connsiteX6" fmla="*/ 100376 w 1432044"/>
              <a:gd name="connsiteY6" fmla="*/ 0 h 5154014"/>
              <a:gd name="connsiteX0" fmla="*/ 100376 w 1432044"/>
              <a:gd name="connsiteY0" fmla="*/ 0 h 5154014"/>
              <a:gd name="connsiteX1" fmla="*/ 1432044 w 1432044"/>
              <a:gd name="connsiteY1" fmla="*/ 0 h 5154014"/>
              <a:gd name="connsiteX2" fmla="*/ 1432044 w 1432044"/>
              <a:gd name="connsiteY2" fmla="*/ 5154014 h 5154014"/>
              <a:gd name="connsiteX3" fmla="*/ 100376 w 1432044"/>
              <a:gd name="connsiteY3" fmla="*/ 5154014 h 5154014"/>
              <a:gd name="connsiteX4" fmla="*/ 95443 w 1432044"/>
              <a:gd name="connsiteY4" fmla="*/ 2707206 h 5154014"/>
              <a:gd name="connsiteX5" fmla="*/ 88568 w 1432044"/>
              <a:gd name="connsiteY5" fmla="*/ 2617828 h 5154014"/>
              <a:gd name="connsiteX6" fmla="*/ 102319 w 1432044"/>
              <a:gd name="connsiteY6" fmla="*/ 2535326 h 5154014"/>
              <a:gd name="connsiteX7" fmla="*/ 100376 w 1432044"/>
              <a:gd name="connsiteY7" fmla="*/ 0 h 5154014"/>
              <a:gd name="connsiteX0" fmla="*/ 100376 w 1432044"/>
              <a:gd name="connsiteY0" fmla="*/ 0 h 5154014"/>
              <a:gd name="connsiteX1" fmla="*/ 1432044 w 1432044"/>
              <a:gd name="connsiteY1" fmla="*/ 0 h 5154014"/>
              <a:gd name="connsiteX2" fmla="*/ 1432044 w 1432044"/>
              <a:gd name="connsiteY2" fmla="*/ 5154014 h 5154014"/>
              <a:gd name="connsiteX3" fmla="*/ 100376 w 1432044"/>
              <a:gd name="connsiteY3" fmla="*/ 5154014 h 5154014"/>
              <a:gd name="connsiteX4" fmla="*/ 95443 w 1432044"/>
              <a:gd name="connsiteY4" fmla="*/ 2707206 h 5154014"/>
              <a:gd name="connsiteX5" fmla="*/ 198571 w 1432044"/>
              <a:gd name="connsiteY5" fmla="*/ 2617828 h 5154014"/>
              <a:gd name="connsiteX6" fmla="*/ 102319 w 1432044"/>
              <a:gd name="connsiteY6" fmla="*/ 2535326 h 5154014"/>
              <a:gd name="connsiteX7" fmla="*/ 100376 w 1432044"/>
              <a:gd name="connsiteY7" fmla="*/ 0 h 5154014"/>
              <a:gd name="connsiteX0" fmla="*/ 4961 w 1336629"/>
              <a:gd name="connsiteY0" fmla="*/ 0 h 5154014"/>
              <a:gd name="connsiteX1" fmla="*/ 1336629 w 1336629"/>
              <a:gd name="connsiteY1" fmla="*/ 0 h 5154014"/>
              <a:gd name="connsiteX2" fmla="*/ 1336629 w 1336629"/>
              <a:gd name="connsiteY2" fmla="*/ 5154014 h 5154014"/>
              <a:gd name="connsiteX3" fmla="*/ 4961 w 1336629"/>
              <a:gd name="connsiteY3" fmla="*/ 5154014 h 5154014"/>
              <a:gd name="connsiteX4" fmla="*/ 28 w 1336629"/>
              <a:gd name="connsiteY4" fmla="*/ 2707206 h 5154014"/>
              <a:gd name="connsiteX5" fmla="*/ 103156 w 1336629"/>
              <a:gd name="connsiteY5" fmla="*/ 2617828 h 5154014"/>
              <a:gd name="connsiteX6" fmla="*/ 6904 w 1336629"/>
              <a:gd name="connsiteY6" fmla="*/ 2535326 h 5154014"/>
              <a:gd name="connsiteX7" fmla="*/ 4961 w 1336629"/>
              <a:gd name="connsiteY7" fmla="*/ 0 h 5154014"/>
              <a:gd name="connsiteX0" fmla="*/ 4961 w 1336629"/>
              <a:gd name="connsiteY0" fmla="*/ 0 h 5154014"/>
              <a:gd name="connsiteX1" fmla="*/ 1336629 w 1336629"/>
              <a:gd name="connsiteY1" fmla="*/ 0 h 5154014"/>
              <a:gd name="connsiteX2" fmla="*/ 1336629 w 1336629"/>
              <a:gd name="connsiteY2" fmla="*/ 5154014 h 5154014"/>
              <a:gd name="connsiteX3" fmla="*/ 4961 w 1336629"/>
              <a:gd name="connsiteY3" fmla="*/ 5154014 h 5154014"/>
              <a:gd name="connsiteX4" fmla="*/ 28 w 1336629"/>
              <a:gd name="connsiteY4" fmla="*/ 2707206 h 5154014"/>
              <a:gd name="connsiteX5" fmla="*/ 103156 w 1336629"/>
              <a:gd name="connsiteY5" fmla="*/ 2617828 h 5154014"/>
              <a:gd name="connsiteX6" fmla="*/ 6904 w 1336629"/>
              <a:gd name="connsiteY6" fmla="*/ 2535326 h 5154014"/>
              <a:gd name="connsiteX7" fmla="*/ 4961 w 1336629"/>
              <a:gd name="connsiteY7" fmla="*/ 0 h 5154014"/>
              <a:gd name="connsiteX0" fmla="*/ 4961 w 1336629"/>
              <a:gd name="connsiteY0" fmla="*/ 0 h 5154014"/>
              <a:gd name="connsiteX1" fmla="*/ 1336629 w 1336629"/>
              <a:gd name="connsiteY1" fmla="*/ 0 h 5154014"/>
              <a:gd name="connsiteX2" fmla="*/ 1336629 w 1336629"/>
              <a:gd name="connsiteY2" fmla="*/ 5154014 h 5154014"/>
              <a:gd name="connsiteX3" fmla="*/ 4961 w 1336629"/>
              <a:gd name="connsiteY3" fmla="*/ 5154014 h 5154014"/>
              <a:gd name="connsiteX4" fmla="*/ 28 w 1336629"/>
              <a:gd name="connsiteY4" fmla="*/ 2707206 h 5154014"/>
              <a:gd name="connsiteX5" fmla="*/ 103156 w 1336629"/>
              <a:gd name="connsiteY5" fmla="*/ 2617828 h 5154014"/>
              <a:gd name="connsiteX6" fmla="*/ 6904 w 1336629"/>
              <a:gd name="connsiteY6" fmla="*/ 2535326 h 5154014"/>
              <a:gd name="connsiteX7" fmla="*/ 4961 w 1336629"/>
              <a:gd name="connsiteY7" fmla="*/ 0 h 5154014"/>
              <a:gd name="connsiteX0" fmla="*/ 4961 w 1336629"/>
              <a:gd name="connsiteY0" fmla="*/ 0 h 5154014"/>
              <a:gd name="connsiteX1" fmla="*/ 1336629 w 1336629"/>
              <a:gd name="connsiteY1" fmla="*/ 0 h 5154014"/>
              <a:gd name="connsiteX2" fmla="*/ 1336629 w 1336629"/>
              <a:gd name="connsiteY2" fmla="*/ 5154014 h 5154014"/>
              <a:gd name="connsiteX3" fmla="*/ 4961 w 1336629"/>
              <a:gd name="connsiteY3" fmla="*/ 5154014 h 5154014"/>
              <a:gd name="connsiteX4" fmla="*/ 28 w 1336629"/>
              <a:gd name="connsiteY4" fmla="*/ 2707206 h 5154014"/>
              <a:gd name="connsiteX5" fmla="*/ 103156 w 1336629"/>
              <a:gd name="connsiteY5" fmla="*/ 2617828 h 5154014"/>
              <a:gd name="connsiteX6" fmla="*/ 6904 w 1336629"/>
              <a:gd name="connsiteY6" fmla="*/ 2535326 h 5154014"/>
              <a:gd name="connsiteX7" fmla="*/ 4961 w 1336629"/>
              <a:gd name="connsiteY7" fmla="*/ 0 h 5154014"/>
              <a:gd name="connsiteX0" fmla="*/ 4968 w 1336636"/>
              <a:gd name="connsiteY0" fmla="*/ 0 h 5154014"/>
              <a:gd name="connsiteX1" fmla="*/ 1336636 w 1336636"/>
              <a:gd name="connsiteY1" fmla="*/ 0 h 5154014"/>
              <a:gd name="connsiteX2" fmla="*/ 1336636 w 1336636"/>
              <a:gd name="connsiteY2" fmla="*/ 5154014 h 5154014"/>
              <a:gd name="connsiteX3" fmla="*/ 4968 w 1336636"/>
              <a:gd name="connsiteY3" fmla="*/ 5154014 h 5154014"/>
              <a:gd name="connsiteX4" fmla="*/ 35 w 1336636"/>
              <a:gd name="connsiteY4" fmla="*/ 2707206 h 5154014"/>
              <a:gd name="connsiteX5" fmla="*/ 103163 w 1336636"/>
              <a:gd name="connsiteY5" fmla="*/ 2617828 h 5154014"/>
              <a:gd name="connsiteX6" fmla="*/ 6911 w 1336636"/>
              <a:gd name="connsiteY6" fmla="*/ 2535326 h 5154014"/>
              <a:gd name="connsiteX7" fmla="*/ 4968 w 1336636"/>
              <a:gd name="connsiteY7" fmla="*/ 0 h 5154014"/>
              <a:gd name="connsiteX0" fmla="*/ 4959 w 1336627"/>
              <a:gd name="connsiteY0" fmla="*/ 0 h 5154014"/>
              <a:gd name="connsiteX1" fmla="*/ 1336627 w 1336627"/>
              <a:gd name="connsiteY1" fmla="*/ 0 h 5154014"/>
              <a:gd name="connsiteX2" fmla="*/ 1336627 w 1336627"/>
              <a:gd name="connsiteY2" fmla="*/ 5154014 h 5154014"/>
              <a:gd name="connsiteX3" fmla="*/ 4959 w 1336627"/>
              <a:gd name="connsiteY3" fmla="*/ 5154014 h 5154014"/>
              <a:gd name="connsiteX4" fmla="*/ 26 w 1336627"/>
              <a:gd name="connsiteY4" fmla="*/ 2707206 h 5154014"/>
              <a:gd name="connsiteX5" fmla="*/ 103154 w 1336627"/>
              <a:gd name="connsiteY5" fmla="*/ 2617828 h 5154014"/>
              <a:gd name="connsiteX6" fmla="*/ 6902 w 1336627"/>
              <a:gd name="connsiteY6" fmla="*/ 2535326 h 5154014"/>
              <a:gd name="connsiteX7" fmla="*/ 4959 w 1336627"/>
              <a:gd name="connsiteY7" fmla="*/ 0 h 5154014"/>
              <a:gd name="connsiteX0" fmla="*/ 4959 w 1336627"/>
              <a:gd name="connsiteY0" fmla="*/ 0 h 5154014"/>
              <a:gd name="connsiteX1" fmla="*/ 1336627 w 1336627"/>
              <a:gd name="connsiteY1" fmla="*/ 0 h 5154014"/>
              <a:gd name="connsiteX2" fmla="*/ 1336627 w 1336627"/>
              <a:gd name="connsiteY2" fmla="*/ 5154014 h 5154014"/>
              <a:gd name="connsiteX3" fmla="*/ 4959 w 1336627"/>
              <a:gd name="connsiteY3" fmla="*/ 5154014 h 5154014"/>
              <a:gd name="connsiteX4" fmla="*/ 26 w 1336627"/>
              <a:gd name="connsiteY4" fmla="*/ 2707206 h 5154014"/>
              <a:gd name="connsiteX5" fmla="*/ 103154 w 1336627"/>
              <a:gd name="connsiteY5" fmla="*/ 2617828 h 5154014"/>
              <a:gd name="connsiteX6" fmla="*/ 6902 w 1336627"/>
              <a:gd name="connsiteY6" fmla="*/ 2535326 h 5154014"/>
              <a:gd name="connsiteX7" fmla="*/ 4959 w 1336627"/>
              <a:gd name="connsiteY7" fmla="*/ 0 h 5154014"/>
              <a:gd name="connsiteX0" fmla="*/ 4959 w 1336627"/>
              <a:gd name="connsiteY0" fmla="*/ 0 h 5154014"/>
              <a:gd name="connsiteX1" fmla="*/ 1336627 w 1336627"/>
              <a:gd name="connsiteY1" fmla="*/ 0 h 5154014"/>
              <a:gd name="connsiteX2" fmla="*/ 1336627 w 1336627"/>
              <a:gd name="connsiteY2" fmla="*/ 5154014 h 5154014"/>
              <a:gd name="connsiteX3" fmla="*/ 4959 w 1336627"/>
              <a:gd name="connsiteY3" fmla="*/ 5154014 h 5154014"/>
              <a:gd name="connsiteX4" fmla="*/ 26 w 1336627"/>
              <a:gd name="connsiteY4" fmla="*/ 2692919 h 5154014"/>
              <a:gd name="connsiteX5" fmla="*/ 103154 w 1336627"/>
              <a:gd name="connsiteY5" fmla="*/ 2617828 h 5154014"/>
              <a:gd name="connsiteX6" fmla="*/ 6902 w 1336627"/>
              <a:gd name="connsiteY6" fmla="*/ 2535326 h 5154014"/>
              <a:gd name="connsiteX7" fmla="*/ 4959 w 1336627"/>
              <a:gd name="connsiteY7" fmla="*/ 0 h 5154014"/>
              <a:gd name="connsiteX0" fmla="*/ 4959 w 1336627"/>
              <a:gd name="connsiteY0" fmla="*/ 0 h 5154014"/>
              <a:gd name="connsiteX1" fmla="*/ 1336627 w 1336627"/>
              <a:gd name="connsiteY1" fmla="*/ 0 h 5154014"/>
              <a:gd name="connsiteX2" fmla="*/ 1336627 w 1336627"/>
              <a:gd name="connsiteY2" fmla="*/ 5154014 h 5154014"/>
              <a:gd name="connsiteX3" fmla="*/ 4959 w 1336627"/>
              <a:gd name="connsiteY3" fmla="*/ 5154014 h 5154014"/>
              <a:gd name="connsiteX4" fmla="*/ 26 w 1336627"/>
              <a:gd name="connsiteY4" fmla="*/ 2692919 h 5154014"/>
              <a:gd name="connsiteX5" fmla="*/ 160304 w 1336627"/>
              <a:gd name="connsiteY5" fmla="*/ 2605922 h 5154014"/>
              <a:gd name="connsiteX6" fmla="*/ 6902 w 1336627"/>
              <a:gd name="connsiteY6" fmla="*/ 2535326 h 5154014"/>
              <a:gd name="connsiteX7" fmla="*/ 4959 w 1336627"/>
              <a:gd name="connsiteY7" fmla="*/ 0 h 5154014"/>
              <a:gd name="connsiteX0" fmla="*/ 4959 w 1336627"/>
              <a:gd name="connsiteY0" fmla="*/ 0 h 5154014"/>
              <a:gd name="connsiteX1" fmla="*/ 1336627 w 1336627"/>
              <a:gd name="connsiteY1" fmla="*/ 0 h 5154014"/>
              <a:gd name="connsiteX2" fmla="*/ 1336627 w 1336627"/>
              <a:gd name="connsiteY2" fmla="*/ 5154014 h 5154014"/>
              <a:gd name="connsiteX3" fmla="*/ 4959 w 1336627"/>
              <a:gd name="connsiteY3" fmla="*/ 5154014 h 5154014"/>
              <a:gd name="connsiteX4" fmla="*/ 26 w 1336627"/>
              <a:gd name="connsiteY4" fmla="*/ 2692919 h 5154014"/>
              <a:gd name="connsiteX5" fmla="*/ 105535 w 1336627"/>
              <a:gd name="connsiteY5" fmla="*/ 2589253 h 5154014"/>
              <a:gd name="connsiteX6" fmla="*/ 6902 w 1336627"/>
              <a:gd name="connsiteY6" fmla="*/ 2535326 h 5154014"/>
              <a:gd name="connsiteX7" fmla="*/ 4959 w 1336627"/>
              <a:gd name="connsiteY7" fmla="*/ 0 h 5154014"/>
              <a:gd name="connsiteX0" fmla="*/ 4959 w 1336627"/>
              <a:gd name="connsiteY0" fmla="*/ 0 h 5154014"/>
              <a:gd name="connsiteX1" fmla="*/ 1336627 w 1336627"/>
              <a:gd name="connsiteY1" fmla="*/ 0 h 5154014"/>
              <a:gd name="connsiteX2" fmla="*/ 1336627 w 1336627"/>
              <a:gd name="connsiteY2" fmla="*/ 5154014 h 5154014"/>
              <a:gd name="connsiteX3" fmla="*/ 4959 w 1336627"/>
              <a:gd name="connsiteY3" fmla="*/ 5154014 h 5154014"/>
              <a:gd name="connsiteX4" fmla="*/ 26 w 1336627"/>
              <a:gd name="connsiteY4" fmla="*/ 2692919 h 5154014"/>
              <a:gd name="connsiteX5" fmla="*/ 105535 w 1336627"/>
              <a:gd name="connsiteY5" fmla="*/ 2589253 h 5154014"/>
              <a:gd name="connsiteX6" fmla="*/ 2140 w 1336627"/>
              <a:gd name="connsiteY6" fmla="*/ 2451983 h 5154014"/>
              <a:gd name="connsiteX7" fmla="*/ 4959 w 1336627"/>
              <a:gd name="connsiteY7" fmla="*/ 0 h 5154014"/>
              <a:gd name="connsiteX0" fmla="*/ 4959 w 1336627"/>
              <a:gd name="connsiteY0" fmla="*/ 0 h 5154014"/>
              <a:gd name="connsiteX1" fmla="*/ 1336627 w 1336627"/>
              <a:gd name="connsiteY1" fmla="*/ 0 h 5154014"/>
              <a:gd name="connsiteX2" fmla="*/ 1336627 w 1336627"/>
              <a:gd name="connsiteY2" fmla="*/ 5154014 h 5154014"/>
              <a:gd name="connsiteX3" fmla="*/ 4959 w 1336627"/>
              <a:gd name="connsiteY3" fmla="*/ 5154014 h 5154014"/>
              <a:gd name="connsiteX4" fmla="*/ 26 w 1336627"/>
              <a:gd name="connsiteY4" fmla="*/ 2692919 h 5154014"/>
              <a:gd name="connsiteX5" fmla="*/ 105535 w 1336627"/>
              <a:gd name="connsiteY5" fmla="*/ 2589253 h 5154014"/>
              <a:gd name="connsiteX6" fmla="*/ 2140 w 1336627"/>
              <a:gd name="connsiteY6" fmla="*/ 2494846 h 5154014"/>
              <a:gd name="connsiteX7" fmla="*/ 4959 w 1336627"/>
              <a:gd name="connsiteY7" fmla="*/ 0 h 5154014"/>
              <a:gd name="connsiteX0" fmla="*/ 4959 w 1336627"/>
              <a:gd name="connsiteY0" fmla="*/ 0 h 5154014"/>
              <a:gd name="connsiteX1" fmla="*/ 1336627 w 1336627"/>
              <a:gd name="connsiteY1" fmla="*/ 0 h 5154014"/>
              <a:gd name="connsiteX2" fmla="*/ 1336627 w 1336627"/>
              <a:gd name="connsiteY2" fmla="*/ 5154014 h 5154014"/>
              <a:gd name="connsiteX3" fmla="*/ 4959 w 1336627"/>
              <a:gd name="connsiteY3" fmla="*/ 5154014 h 5154014"/>
              <a:gd name="connsiteX4" fmla="*/ 26 w 1336627"/>
              <a:gd name="connsiteY4" fmla="*/ 2692919 h 5154014"/>
              <a:gd name="connsiteX5" fmla="*/ 105535 w 1336627"/>
              <a:gd name="connsiteY5" fmla="*/ 2589253 h 5154014"/>
              <a:gd name="connsiteX6" fmla="*/ 42621 w 1336627"/>
              <a:gd name="connsiteY6" fmla="*/ 2492465 h 5154014"/>
              <a:gd name="connsiteX7" fmla="*/ 4959 w 1336627"/>
              <a:gd name="connsiteY7" fmla="*/ 0 h 5154014"/>
              <a:gd name="connsiteX0" fmla="*/ 4959 w 1336627"/>
              <a:gd name="connsiteY0" fmla="*/ 0 h 5154014"/>
              <a:gd name="connsiteX1" fmla="*/ 1336627 w 1336627"/>
              <a:gd name="connsiteY1" fmla="*/ 0 h 5154014"/>
              <a:gd name="connsiteX2" fmla="*/ 1336627 w 1336627"/>
              <a:gd name="connsiteY2" fmla="*/ 5154014 h 5154014"/>
              <a:gd name="connsiteX3" fmla="*/ 4959 w 1336627"/>
              <a:gd name="connsiteY3" fmla="*/ 5154014 h 5154014"/>
              <a:gd name="connsiteX4" fmla="*/ 26 w 1336627"/>
              <a:gd name="connsiteY4" fmla="*/ 2692919 h 5154014"/>
              <a:gd name="connsiteX5" fmla="*/ 105535 w 1336627"/>
              <a:gd name="connsiteY5" fmla="*/ 2589253 h 5154014"/>
              <a:gd name="connsiteX6" fmla="*/ 14046 w 1336627"/>
              <a:gd name="connsiteY6" fmla="*/ 2506752 h 5154014"/>
              <a:gd name="connsiteX7" fmla="*/ 4959 w 1336627"/>
              <a:gd name="connsiteY7" fmla="*/ 0 h 5154014"/>
              <a:gd name="connsiteX0" fmla="*/ 54 w 1331722"/>
              <a:gd name="connsiteY0" fmla="*/ 0 h 5154014"/>
              <a:gd name="connsiteX1" fmla="*/ 1331722 w 1331722"/>
              <a:gd name="connsiteY1" fmla="*/ 0 h 5154014"/>
              <a:gd name="connsiteX2" fmla="*/ 1331722 w 1331722"/>
              <a:gd name="connsiteY2" fmla="*/ 5154014 h 5154014"/>
              <a:gd name="connsiteX3" fmla="*/ 54 w 1331722"/>
              <a:gd name="connsiteY3" fmla="*/ 5154014 h 5154014"/>
              <a:gd name="connsiteX4" fmla="*/ 80846 w 1331722"/>
              <a:gd name="connsiteY4" fmla="*/ 2731019 h 5154014"/>
              <a:gd name="connsiteX5" fmla="*/ 100630 w 1331722"/>
              <a:gd name="connsiteY5" fmla="*/ 2589253 h 5154014"/>
              <a:gd name="connsiteX6" fmla="*/ 9141 w 1331722"/>
              <a:gd name="connsiteY6" fmla="*/ 2506752 h 5154014"/>
              <a:gd name="connsiteX7" fmla="*/ 54 w 1331722"/>
              <a:gd name="connsiteY7" fmla="*/ 0 h 5154014"/>
              <a:gd name="connsiteX0" fmla="*/ 346 w 1332014"/>
              <a:gd name="connsiteY0" fmla="*/ 0 h 5154014"/>
              <a:gd name="connsiteX1" fmla="*/ 1332014 w 1332014"/>
              <a:gd name="connsiteY1" fmla="*/ 0 h 5154014"/>
              <a:gd name="connsiteX2" fmla="*/ 1332014 w 1332014"/>
              <a:gd name="connsiteY2" fmla="*/ 5154014 h 5154014"/>
              <a:gd name="connsiteX3" fmla="*/ 346 w 1332014"/>
              <a:gd name="connsiteY3" fmla="*/ 5154014 h 5154014"/>
              <a:gd name="connsiteX4" fmla="*/ 9700 w 1332014"/>
              <a:gd name="connsiteY4" fmla="*/ 2688157 h 5154014"/>
              <a:gd name="connsiteX5" fmla="*/ 100922 w 1332014"/>
              <a:gd name="connsiteY5" fmla="*/ 2589253 h 5154014"/>
              <a:gd name="connsiteX6" fmla="*/ 9433 w 1332014"/>
              <a:gd name="connsiteY6" fmla="*/ 2506752 h 5154014"/>
              <a:gd name="connsiteX7" fmla="*/ 346 w 1332014"/>
              <a:gd name="connsiteY7" fmla="*/ 0 h 5154014"/>
              <a:gd name="connsiteX0" fmla="*/ 346 w 1332014"/>
              <a:gd name="connsiteY0" fmla="*/ 0 h 5154014"/>
              <a:gd name="connsiteX1" fmla="*/ 1332014 w 1332014"/>
              <a:gd name="connsiteY1" fmla="*/ 0 h 5154014"/>
              <a:gd name="connsiteX2" fmla="*/ 1332014 w 1332014"/>
              <a:gd name="connsiteY2" fmla="*/ 5154014 h 5154014"/>
              <a:gd name="connsiteX3" fmla="*/ 346 w 1332014"/>
              <a:gd name="connsiteY3" fmla="*/ 5154014 h 5154014"/>
              <a:gd name="connsiteX4" fmla="*/ 9700 w 1332014"/>
              <a:gd name="connsiteY4" fmla="*/ 2688157 h 5154014"/>
              <a:gd name="connsiteX5" fmla="*/ 100922 w 1332014"/>
              <a:gd name="connsiteY5" fmla="*/ 2589253 h 5154014"/>
              <a:gd name="connsiteX6" fmla="*/ 9433 w 1332014"/>
              <a:gd name="connsiteY6" fmla="*/ 2506752 h 5154014"/>
              <a:gd name="connsiteX7" fmla="*/ 346 w 1332014"/>
              <a:gd name="connsiteY7" fmla="*/ 0 h 5154014"/>
              <a:gd name="connsiteX0" fmla="*/ 346 w 1332014"/>
              <a:gd name="connsiteY0" fmla="*/ 0 h 5154014"/>
              <a:gd name="connsiteX1" fmla="*/ 1332014 w 1332014"/>
              <a:gd name="connsiteY1" fmla="*/ 0 h 5154014"/>
              <a:gd name="connsiteX2" fmla="*/ 1332014 w 1332014"/>
              <a:gd name="connsiteY2" fmla="*/ 5154014 h 5154014"/>
              <a:gd name="connsiteX3" fmla="*/ 346 w 1332014"/>
              <a:gd name="connsiteY3" fmla="*/ 5154014 h 5154014"/>
              <a:gd name="connsiteX4" fmla="*/ 9700 w 1332014"/>
              <a:gd name="connsiteY4" fmla="*/ 2688157 h 5154014"/>
              <a:gd name="connsiteX5" fmla="*/ 100922 w 1332014"/>
              <a:gd name="connsiteY5" fmla="*/ 2589253 h 5154014"/>
              <a:gd name="connsiteX6" fmla="*/ 9433 w 1332014"/>
              <a:gd name="connsiteY6" fmla="*/ 2506752 h 5154014"/>
              <a:gd name="connsiteX7" fmla="*/ 346 w 1332014"/>
              <a:gd name="connsiteY7" fmla="*/ 0 h 5154014"/>
              <a:gd name="connsiteX0" fmla="*/ 346 w 1332014"/>
              <a:gd name="connsiteY0" fmla="*/ 0 h 5154014"/>
              <a:gd name="connsiteX1" fmla="*/ 1332014 w 1332014"/>
              <a:gd name="connsiteY1" fmla="*/ 0 h 5154014"/>
              <a:gd name="connsiteX2" fmla="*/ 1332014 w 1332014"/>
              <a:gd name="connsiteY2" fmla="*/ 5154014 h 5154014"/>
              <a:gd name="connsiteX3" fmla="*/ 346 w 1332014"/>
              <a:gd name="connsiteY3" fmla="*/ 5154014 h 5154014"/>
              <a:gd name="connsiteX4" fmla="*/ 9700 w 1332014"/>
              <a:gd name="connsiteY4" fmla="*/ 2688157 h 5154014"/>
              <a:gd name="connsiteX5" fmla="*/ 100922 w 1332014"/>
              <a:gd name="connsiteY5" fmla="*/ 2589253 h 5154014"/>
              <a:gd name="connsiteX6" fmla="*/ 9433 w 1332014"/>
              <a:gd name="connsiteY6" fmla="*/ 2506752 h 5154014"/>
              <a:gd name="connsiteX7" fmla="*/ 346 w 1332014"/>
              <a:gd name="connsiteY7" fmla="*/ 0 h 5154014"/>
              <a:gd name="connsiteX0" fmla="*/ 1 w 1331669"/>
              <a:gd name="connsiteY0" fmla="*/ 0 h 5154014"/>
              <a:gd name="connsiteX1" fmla="*/ 1331669 w 1331669"/>
              <a:gd name="connsiteY1" fmla="*/ 0 h 5154014"/>
              <a:gd name="connsiteX2" fmla="*/ 1331669 w 1331669"/>
              <a:gd name="connsiteY2" fmla="*/ 5154014 h 5154014"/>
              <a:gd name="connsiteX3" fmla="*/ 1 w 1331669"/>
              <a:gd name="connsiteY3" fmla="*/ 5154014 h 5154014"/>
              <a:gd name="connsiteX4" fmla="*/ 9355 w 1331669"/>
              <a:gd name="connsiteY4" fmla="*/ 2688157 h 5154014"/>
              <a:gd name="connsiteX5" fmla="*/ 100577 w 1331669"/>
              <a:gd name="connsiteY5" fmla="*/ 2589253 h 5154014"/>
              <a:gd name="connsiteX6" fmla="*/ 9088 w 1331669"/>
              <a:gd name="connsiteY6" fmla="*/ 2506752 h 5154014"/>
              <a:gd name="connsiteX7" fmla="*/ 1 w 1331669"/>
              <a:gd name="connsiteY7" fmla="*/ 0 h 5154014"/>
              <a:gd name="connsiteX0" fmla="*/ 0 w 1331668"/>
              <a:gd name="connsiteY0" fmla="*/ 0 h 5158776"/>
              <a:gd name="connsiteX1" fmla="*/ 1331668 w 1331668"/>
              <a:gd name="connsiteY1" fmla="*/ 0 h 5158776"/>
              <a:gd name="connsiteX2" fmla="*/ 1331668 w 1331668"/>
              <a:gd name="connsiteY2" fmla="*/ 5154014 h 5158776"/>
              <a:gd name="connsiteX3" fmla="*/ 35719 w 1331668"/>
              <a:gd name="connsiteY3" fmla="*/ 5158776 h 5158776"/>
              <a:gd name="connsiteX4" fmla="*/ 9354 w 1331668"/>
              <a:gd name="connsiteY4" fmla="*/ 2688157 h 5158776"/>
              <a:gd name="connsiteX5" fmla="*/ 100576 w 1331668"/>
              <a:gd name="connsiteY5" fmla="*/ 2589253 h 5158776"/>
              <a:gd name="connsiteX6" fmla="*/ 9087 w 1331668"/>
              <a:gd name="connsiteY6" fmla="*/ 2506752 h 5158776"/>
              <a:gd name="connsiteX7" fmla="*/ 0 w 1331668"/>
              <a:gd name="connsiteY7" fmla="*/ 0 h 5158776"/>
              <a:gd name="connsiteX0" fmla="*/ 0 w 1331668"/>
              <a:gd name="connsiteY0" fmla="*/ 0 h 5158776"/>
              <a:gd name="connsiteX1" fmla="*/ 1331668 w 1331668"/>
              <a:gd name="connsiteY1" fmla="*/ 0 h 5158776"/>
              <a:gd name="connsiteX2" fmla="*/ 1331668 w 1331668"/>
              <a:gd name="connsiteY2" fmla="*/ 5154014 h 5158776"/>
              <a:gd name="connsiteX3" fmla="*/ 9526 w 1331668"/>
              <a:gd name="connsiteY3" fmla="*/ 5158776 h 5158776"/>
              <a:gd name="connsiteX4" fmla="*/ 9354 w 1331668"/>
              <a:gd name="connsiteY4" fmla="*/ 2688157 h 5158776"/>
              <a:gd name="connsiteX5" fmla="*/ 100576 w 1331668"/>
              <a:gd name="connsiteY5" fmla="*/ 2589253 h 5158776"/>
              <a:gd name="connsiteX6" fmla="*/ 9087 w 1331668"/>
              <a:gd name="connsiteY6" fmla="*/ 2506752 h 5158776"/>
              <a:gd name="connsiteX7" fmla="*/ 0 w 1331668"/>
              <a:gd name="connsiteY7" fmla="*/ 0 h 5158776"/>
              <a:gd name="connsiteX0" fmla="*/ 83786 w 1322585"/>
              <a:gd name="connsiteY0" fmla="*/ 0 h 5161157"/>
              <a:gd name="connsiteX1" fmla="*/ 1322585 w 1322585"/>
              <a:gd name="connsiteY1" fmla="*/ 2381 h 5161157"/>
              <a:gd name="connsiteX2" fmla="*/ 1322585 w 1322585"/>
              <a:gd name="connsiteY2" fmla="*/ 5156395 h 5161157"/>
              <a:gd name="connsiteX3" fmla="*/ 443 w 1322585"/>
              <a:gd name="connsiteY3" fmla="*/ 5161157 h 5161157"/>
              <a:gd name="connsiteX4" fmla="*/ 271 w 1322585"/>
              <a:gd name="connsiteY4" fmla="*/ 2690538 h 5161157"/>
              <a:gd name="connsiteX5" fmla="*/ 91493 w 1322585"/>
              <a:gd name="connsiteY5" fmla="*/ 2591634 h 5161157"/>
              <a:gd name="connsiteX6" fmla="*/ 4 w 1322585"/>
              <a:gd name="connsiteY6" fmla="*/ 2509133 h 5161157"/>
              <a:gd name="connsiteX7" fmla="*/ 83786 w 1322585"/>
              <a:gd name="connsiteY7" fmla="*/ 0 h 5161157"/>
              <a:gd name="connsiteX0" fmla="*/ 585 w 1322728"/>
              <a:gd name="connsiteY0" fmla="*/ 4763 h 5158776"/>
              <a:gd name="connsiteX1" fmla="*/ 1322728 w 1322728"/>
              <a:gd name="connsiteY1" fmla="*/ 0 h 5158776"/>
              <a:gd name="connsiteX2" fmla="*/ 1322728 w 1322728"/>
              <a:gd name="connsiteY2" fmla="*/ 5154014 h 5158776"/>
              <a:gd name="connsiteX3" fmla="*/ 586 w 1322728"/>
              <a:gd name="connsiteY3" fmla="*/ 5158776 h 5158776"/>
              <a:gd name="connsiteX4" fmla="*/ 414 w 1322728"/>
              <a:gd name="connsiteY4" fmla="*/ 2688157 h 5158776"/>
              <a:gd name="connsiteX5" fmla="*/ 91636 w 1322728"/>
              <a:gd name="connsiteY5" fmla="*/ 2589253 h 5158776"/>
              <a:gd name="connsiteX6" fmla="*/ 147 w 1322728"/>
              <a:gd name="connsiteY6" fmla="*/ 2506752 h 5158776"/>
              <a:gd name="connsiteX7" fmla="*/ 585 w 1322728"/>
              <a:gd name="connsiteY7" fmla="*/ 4763 h 5158776"/>
              <a:gd name="connsiteX0" fmla="*/ 585 w 1322728"/>
              <a:gd name="connsiteY0" fmla="*/ 0 h 5154013"/>
              <a:gd name="connsiteX1" fmla="*/ 1265578 w 1322728"/>
              <a:gd name="connsiteY1" fmla="*/ 76199 h 5154013"/>
              <a:gd name="connsiteX2" fmla="*/ 1322728 w 1322728"/>
              <a:gd name="connsiteY2" fmla="*/ 5149251 h 5154013"/>
              <a:gd name="connsiteX3" fmla="*/ 586 w 1322728"/>
              <a:gd name="connsiteY3" fmla="*/ 5154013 h 5154013"/>
              <a:gd name="connsiteX4" fmla="*/ 414 w 1322728"/>
              <a:gd name="connsiteY4" fmla="*/ 2683394 h 5154013"/>
              <a:gd name="connsiteX5" fmla="*/ 91636 w 1322728"/>
              <a:gd name="connsiteY5" fmla="*/ 2584490 h 5154013"/>
              <a:gd name="connsiteX6" fmla="*/ 147 w 1322728"/>
              <a:gd name="connsiteY6" fmla="*/ 2501989 h 5154013"/>
              <a:gd name="connsiteX7" fmla="*/ 585 w 1322728"/>
              <a:gd name="connsiteY7" fmla="*/ 0 h 5154013"/>
              <a:gd name="connsiteX0" fmla="*/ 585 w 1325109"/>
              <a:gd name="connsiteY0" fmla="*/ 0 h 5154013"/>
              <a:gd name="connsiteX1" fmla="*/ 1325109 w 1325109"/>
              <a:gd name="connsiteY1" fmla="*/ 2380 h 5154013"/>
              <a:gd name="connsiteX2" fmla="*/ 1322728 w 1325109"/>
              <a:gd name="connsiteY2" fmla="*/ 5149251 h 5154013"/>
              <a:gd name="connsiteX3" fmla="*/ 586 w 1325109"/>
              <a:gd name="connsiteY3" fmla="*/ 5154013 h 5154013"/>
              <a:gd name="connsiteX4" fmla="*/ 414 w 1325109"/>
              <a:gd name="connsiteY4" fmla="*/ 2683394 h 5154013"/>
              <a:gd name="connsiteX5" fmla="*/ 91636 w 1325109"/>
              <a:gd name="connsiteY5" fmla="*/ 2584490 h 5154013"/>
              <a:gd name="connsiteX6" fmla="*/ 147 w 1325109"/>
              <a:gd name="connsiteY6" fmla="*/ 2501989 h 5154013"/>
              <a:gd name="connsiteX7" fmla="*/ 585 w 1325109"/>
              <a:gd name="connsiteY7" fmla="*/ 0 h 5154013"/>
              <a:gd name="connsiteX0" fmla="*/ 585 w 1325109"/>
              <a:gd name="connsiteY0" fmla="*/ 0 h 5154013"/>
              <a:gd name="connsiteX1" fmla="*/ 1325109 w 1325109"/>
              <a:gd name="connsiteY1" fmla="*/ 2380 h 5154013"/>
              <a:gd name="connsiteX2" fmla="*/ 1322728 w 1325109"/>
              <a:gd name="connsiteY2" fmla="*/ 5149251 h 5154013"/>
              <a:gd name="connsiteX3" fmla="*/ 586 w 1325109"/>
              <a:gd name="connsiteY3" fmla="*/ 5154013 h 5154013"/>
              <a:gd name="connsiteX4" fmla="*/ 414 w 1325109"/>
              <a:gd name="connsiteY4" fmla="*/ 2683394 h 5154013"/>
              <a:gd name="connsiteX5" fmla="*/ 91636 w 1325109"/>
              <a:gd name="connsiteY5" fmla="*/ 2584490 h 5154013"/>
              <a:gd name="connsiteX6" fmla="*/ 147 w 1325109"/>
              <a:gd name="connsiteY6" fmla="*/ 2501989 h 5154013"/>
              <a:gd name="connsiteX7" fmla="*/ 585 w 1325109"/>
              <a:gd name="connsiteY7" fmla="*/ 0 h 5154013"/>
              <a:gd name="connsiteX0" fmla="*/ 2890 w 1325032"/>
              <a:gd name="connsiteY0" fmla="*/ 9527 h 5151633"/>
              <a:gd name="connsiteX1" fmla="*/ 1325032 w 1325032"/>
              <a:gd name="connsiteY1" fmla="*/ 0 h 5151633"/>
              <a:gd name="connsiteX2" fmla="*/ 1322651 w 1325032"/>
              <a:gd name="connsiteY2" fmla="*/ 5146871 h 5151633"/>
              <a:gd name="connsiteX3" fmla="*/ 509 w 1325032"/>
              <a:gd name="connsiteY3" fmla="*/ 5151633 h 5151633"/>
              <a:gd name="connsiteX4" fmla="*/ 337 w 1325032"/>
              <a:gd name="connsiteY4" fmla="*/ 2681014 h 5151633"/>
              <a:gd name="connsiteX5" fmla="*/ 91559 w 1325032"/>
              <a:gd name="connsiteY5" fmla="*/ 2582110 h 5151633"/>
              <a:gd name="connsiteX6" fmla="*/ 70 w 1325032"/>
              <a:gd name="connsiteY6" fmla="*/ 2499609 h 5151633"/>
              <a:gd name="connsiteX7" fmla="*/ 2890 w 1325032"/>
              <a:gd name="connsiteY7" fmla="*/ 9527 h 5151633"/>
              <a:gd name="connsiteX0" fmla="*/ 7616 w 1324996"/>
              <a:gd name="connsiteY0" fmla="*/ 0 h 5154012"/>
              <a:gd name="connsiteX1" fmla="*/ 1324996 w 1324996"/>
              <a:gd name="connsiteY1" fmla="*/ 2379 h 5154012"/>
              <a:gd name="connsiteX2" fmla="*/ 1322615 w 1324996"/>
              <a:gd name="connsiteY2" fmla="*/ 5149250 h 5154012"/>
              <a:gd name="connsiteX3" fmla="*/ 473 w 1324996"/>
              <a:gd name="connsiteY3" fmla="*/ 5154012 h 5154012"/>
              <a:gd name="connsiteX4" fmla="*/ 301 w 1324996"/>
              <a:gd name="connsiteY4" fmla="*/ 2683393 h 5154012"/>
              <a:gd name="connsiteX5" fmla="*/ 91523 w 1324996"/>
              <a:gd name="connsiteY5" fmla="*/ 2584489 h 5154012"/>
              <a:gd name="connsiteX6" fmla="*/ 34 w 1324996"/>
              <a:gd name="connsiteY6" fmla="*/ 2501988 h 5154012"/>
              <a:gd name="connsiteX7" fmla="*/ 7616 w 1324996"/>
              <a:gd name="connsiteY7" fmla="*/ 0 h 5154012"/>
              <a:gd name="connsiteX0" fmla="*/ 0 w 1326905"/>
              <a:gd name="connsiteY0" fmla="*/ 0 h 5154012"/>
              <a:gd name="connsiteX1" fmla="*/ 1326905 w 1326905"/>
              <a:gd name="connsiteY1" fmla="*/ 2379 h 5154012"/>
              <a:gd name="connsiteX2" fmla="*/ 1324524 w 1326905"/>
              <a:gd name="connsiteY2" fmla="*/ 5149250 h 5154012"/>
              <a:gd name="connsiteX3" fmla="*/ 2382 w 1326905"/>
              <a:gd name="connsiteY3" fmla="*/ 5154012 h 5154012"/>
              <a:gd name="connsiteX4" fmla="*/ 2210 w 1326905"/>
              <a:gd name="connsiteY4" fmla="*/ 2683393 h 5154012"/>
              <a:gd name="connsiteX5" fmla="*/ 93432 w 1326905"/>
              <a:gd name="connsiteY5" fmla="*/ 2584489 h 5154012"/>
              <a:gd name="connsiteX6" fmla="*/ 1943 w 1326905"/>
              <a:gd name="connsiteY6" fmla="*/ 2501988 h 5154012"/>
              <a:gd name="connsiteX7" fmla="*/ 0 w 1326905"/>
              <a:gd name="connsiteY7" fmla="*/ 0 h 5154012"/>
              <a:gd name="connsiteX0" fmla="*/ 0 w 1329286"/>
              <a:gd name="connsiteY0" fmla="*/ 2384 h 5156396"/>
              <a:gd name="connsiteX1" fmla="*/ 1329286 w 1329286"/>
              <a:gd name="connsiteY1" fmla="*/ 0 h 5156396"/>
              <a:gd name="connsiteX2" fmla="*/ 1324524 w 1329286"/>
              <a:gd name="connsiteY2" fmla="*/ 5151634 h 5156396"/>
              <a:gd name="connsiteX3" fmla="*/ 2382 w 1329286"/>
              <a:gd name="connsiteY3" fmla="*/ 5156396 h 5156396"/>
              <a:gd name="connsiteX4" fmla="*/ 2210 w 1329286"/>
              <a:gd name="connsiteY4" fmla="*/ 2685777 h 5156396"/>
              <a:gd name="connsiteX5" fmla="*/ 93432 w 1329286"/>
              <a:gd name="connsiteY5" fmla="*/ 2586873 h 5156396"/>
              <a:gd name="connsiteX6" fmla="*/ 1943 w 1329286"/>
              <a:gd name="connsiteY6" fmla="*/ 2504372 h 5156396"/>
              <a:gd name="connsiteX7" fmla="*/ 0 w 1329286"/>
              <a:gd name="connsiteY7" fmla="*/ 2384 h 51563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329286" h="5156396">
                <a:moveTo>
                  <a:pt x="0" y="2384"/>
                </a:moveTo>
                <a:lnTo>
                  <a:pt x="1329286" y="0"/>
                </a:lnTo>
                <a:cubicBezTo>
                  <a:pt x="1328492" y="1715624"/>
                  <a:pt x="1325318" y="3436010"/>
                  <a:pt x="1324524" y="5151634"/>
                </a:cubicBezTo>
                <a:lnTo>
                  <a:pt x="2382" y="5156396"/>
                </a:lnTo>
                <a:cubicBezTo>
                  <a:pt x="2296" y="5021223"/>
                  <a:pt x="1886" y="3122225"/>
                  <a:pt x="2210" y="2685777"/>
                </a:cubicBezTo>
                <a:cubicBezTo>
                  <a:pt x="38342" y="2644078"/>
                  <a:pt x="58949" y="2620282"/>
                  <a:pt x="93432" y="2586873"/>
                </a:cubicBezTo>
                <a:cubicBezTo>
                  <a:pt x="58859" y="2558226"/>
                  <a:pt x="45218" y="2538246"/>
                  <a:pt x="1943" y="2504372"/>
                </a:cubicBezTo>
                <a:cubicBezTo>
                  <a:pt x="1295" y="1634054"/>
                  <a:pt x="648" y="872702"/>
                  <a:pt x="0" y="2384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288" dirty="0">
              <a:latin typeface="ＭＳ Ｐゴシック" panose="020B0600070205080204" pitchFamily="50" charset="-128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786230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7939" y="6547380"/>
            <a:ext cx="3136900" cy="10002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>
              <a:defRPr lang="en-US" smtClean="0"/>
            </a:lvl1pPr>
          </a:lstStyle>
          <a:p>
            <a:endParaRPr lang="en-US"/>
          </a:p>
        </p:txBody>
      </p:sp>
      <p:sp>
        <p:nvSpPr>
          <p:cNvPr id="17" name="Content Placeholder 2"/>
          <p:cNvSpPr>
            <a:spLocks noGrp="1"/>
          </p:cNvSpPr>
          <p:nvPr>
            <p:ph sz="half" idx="16"/>
          </p:nvPr>
        </p:nvSpPr>
        <p:spPr>
          <a:xfrm>
            <a:off x="6783132" y="2713406"/>
            <a:ext cx="2506660" cy="3456679"/>
          </a:xfrm>
        </p:spPr>
        <p:txBody>
          <a:bodyPr>
            <a:noAutofit/>
          </a:bodyPr>
          <a:lstStyle>
            <a:lvl1pPr algn="ctr">
              <a:lnSpc>
                <a:spcPct val="110000"/>
              </a:lnSpc>
              <a:spcBef>
                <a:spcPts val="650"/>
              </a:spcBef>
              <a:spcAft>
                <a:spcPts val="650"/>
              </a:spcAft>
              <a:defRPr sz="2167">
                <a:latin typeface="ＭＳ Ｐゴシック" panose="020B0600070205080204" pitchFamily="50" charset="-128"/>
              </a:defRPr>
            </a:lvl1pPr>
            <a:lvl2pPr marL="127261" indent="-127261" algn="ctr">
              <a:lnSpc>
                <a:spcPct val="110000"/>
              </a:lnSpc>
              <a:spcBef>
                <a:spcPts val="650"/>
              </a:spcBef>
              <a:defRPr sz="867"/>
            </a:lvl2pPr>
            <a:lvl3pPr marL="245923" indent="-118663" algn="ctr">
              <a:lnSpc>
                <a:spcPct val="110000"/>
              </a:lnSpc>
              <a:defRPr sz="867"/>
            </a:lvl3pPr>
            <a:lvl4pPr marL="373184" indent="-127261" algn="ctr">
              <a:lnSpc>
                <a:spcPct val="110000"/>
              </a:lnSpc>
              <a:defRPr sz="758"/>
            </a:lvl4pPr>
            <a:lvl5pPr marL="498724" indent="-125541" algn="ctr">
              <a:lnSpc>
                <a:spcPct val="110000"/>
              </a:lnSpc>
              <a:defRPr sz="867"/>
            </a:lvl5pPr>
            <a:lvl6pPr>
              <a:defRPr sz="1950"/>
            </a:lvl6pPr>
            <a:lvl7pPr>
              <a:defRPr sz="1950"/>
            </a:lvl7pPr>
            <a:lvl8pPr>
              <a:defRPr sz="1950"/>
            </a:lvl8pPr>
            <a:lvl9pPr>
              <a:defRPr sz="195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Content Placeholder 2"/>
          <p:cNvSpPr>
            <a:spLocks noGrp="1"/>
          </p:cNvSpPr>
          <p:nvPr>
            <p:ph sz="half" idx="17"/>
          </p:nvPr>
        </p:nvSpPr>
        <p:spPr>
          <a:xfrm>
            <a:off x="3704068" y="2713406"/>
            <a:ext cx="2506660" cy="3456679"/>
          </a:xfrm>
        </p:spPr>
        <p:txBody>
          <a:bodyPr>
            <a:noAutofit/>
          </a:bodyPr>
          <a:lstStyle>
            <a:lvl1pPr algn="ctr">
              <a:lnSpc>
                <a:spcPct val="110000"/>
              </a:lnSpc>
              <a:spcBef>
                <a:spcPts val="650"/>
              </a:spcBef>
              <a:spcAft>
                <a:spcPts val="650"/>
              </a:spcAft>
              <a:defRPr sz="2167">
                <a:latin typeface="ＭＳ Ｐゴシック" panose="020B0600070205080204" pitchFamily="50" charset="-128"/>
              </a:defRPr>
            </a:lvl1pPr>
            <a:lvl2pPr marL="127261" indent="-127261" algn="ctr">
              <a:lnSpc>
                <a:spcPct val="110000"/>
              </a:lnSpc>
              <a:spcBef>
                <a:spcPts val="650"/>
              </a:spcBef>
              <a:defRPr sz="867"/>
            </a:lvl2pPr>
            <a:lvl3pPr marL="245923" indent="-118663" algn="ctr">
              <a:lnSpc>
                <a:spcPct val="110000"/>
              </a:lnSpc>
              <a:defRPr sz="867"/>
            </a:lvl3pPr>
            <a:lvl4pPr marL="373184" indent="-127261" algn="ctr">
              <a:lnSpc>
                <a:spcPct val="110000"/>
              </a:lnSpc>
              <a:defRPr sz="758"/>
            </a:lvl4pPr>
            <a:lvl5pPr marL="498724" indent="-125541" algn="ctr">
              <a:lnSpc>
                <a:spcPct val="110000"/>
              </a:lnSpc>
              <a:defRPr sz="867"/>
            </a:lvl5pPr>
            <a:lvl6pPr>
              <a:defRPr sz="1950"/>
            </a:lvl6pPr>
            <a:lvl7pPr>
              <a:defRPr sz="1950"/>
            </a:lvl7pPr>
            <a:lvl8pPr>
              <a:defRPr sz="1950"/>
            </a:lvl8pPr>
            <a:lvl9pPr>
              <a:defRPr sz="195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Content Placeholder 2"/>
          <p:cNvSpPr>
            <a:spLocks noGrp="1"/>
          </p:cNvSpPr>
          <p:nvPr>
            <p:ph sz="half" idx="18"/>
          </p:nvPr>
        </p:nvSpPr>
        <p:spPr>
          <a:xfrm>
            <a:off x="605651" y="2713406"/>
            <a:ext cx="2506660" cy="3456679"/>
          </a:xfrm>
        </p:spPr>
        <p:txBody>
          <a:bodyPr>
            <a:noAutofit/>
          </a:bodyPr>
          <a:lstStyle>
            <a:lvl1pPr algn="ctr">
              <a:lnSpc>
                <a:spcPct val="110000"/>
              </a:lnSpc>
              <a:spcBef>
                <a:spcPts val="650"/>
              </a:spcBef>
              <a:spcAft>
                <a:spcPts val="650"/>
              </a:spcAft>
              <a:defRPr sz="2167">
                <a:latin typeface="ＭＳ Ｐゴシック" panose="020B0600070205080204" pitchFamily="50" charset="-128"/>
              </a:defRPr>
            </a:lvl1pPr>
            <a:lvl2pPr marL="127261" indent="-127261" algn="ctr">
              <a:lnSpc>
                <a:spcPct val="110000"/>
              </a:lnSpc>
              <a:spcBef>
                <a:spcPts val="650"/>
              </a:spcBef>
              <a:defRPr sz="867"/>
            </a:lvl2pPr>
            <a:lvl3pPr marL="245923" indent="-118663" algn="ctr">
              <a:lnSpc>
                <a:spcPct val="110000"/>
              </a:lnSpc>
              <a:defRPr sz="867"/>
            </a:lvl3pPr>
            <a:lvl4pPr marL="373184" indent="-127261" algn="ctr">
              <a:lnSpc>
                <a:spcPct val="110000"/>
              </a:lnSpc>
              <a:defRPr sz="758"/>
            </a:lvl4pPr>
            <a:lvl5pPr marL="498724" indent="-125541" algn="ctr">
              <a:lnSpc>
                <a:spcPct val="110000"/>
              </a:lnSpc>
              <a:defRPr sz="867"/>
            </a:lvl5pPr>
            <a:lvl6pPr>
              <a:defRPr sz="1950"/>
            </a:lvl6pPr>
            <a:lvl7pPr>
              <a:defRPr sz="1950"/>
            </a:lvl7pPr>
            <a:lvl8pPr>
              <a:defRPr sz="1950"/>
            </a:lvl8pPr>
            <a:lvl9pPr>
              <a:defRPr sz="195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23" name="Straight Connector 22"/>
          <p:cNvCxnSpPr/>
          <p:nvPr userDrawn="1"/>
        </p:nvCxnSpPr>
        <p:spPr>
          <a:xfrm>
            <a:off x="6450079" y="1970886"/>
            <a:ext cx="0" cy="4097612"/>
          </a:xfrm>
          <a:prstGeom prst="line">
            <a:avLst/>
          </a:prstGeom>
          <a:ln w="9525">
            <a:solidFill>
              <a:srgbClr val="CCCC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 userDrawn="1"/>
        </p:nvCxnSpPr>
        <p:spPr>
          <a:xfrm>
            <a:off x="3448486" y="1970886"/>
            <a:ext cx="0" cy="4097612"/>
          </a:xfrm>
          <a:prstGeom prst="line">
            <a:avLst/>
          </a:prstGeom>
          <a:ln w="9525">
            <a:solidFill>
              <a:srgbClr val="CCCC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8343118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8" name="Group 7"/>
          <p:cNvGrpSpPr/>
          <p:nvPr userDrawn="1"/>
        </p:nvGrpSpPr>
        <p:grpSpPr>
          <a:xfrm>
            <a:off x="2562162" y="2355898"/>
            <a:ext cx="4751898" cy="3263420"/>
            <a:chOff x="2365072" y="1766923"/>
            <a:chExt cx="4386367" cy="2447565"/>
          </a:xfrm>
        </p:grpSpPr>
        <p:cxnSp>
          <p:nvCxnSpPr>
            <p:cNvPr id="23" name="Straight Connector 22"/>
            <p:cNvCxnSpPr/>
            <p:nvPr userDrawn="1"/>
          </p:nvCxnSpPr>
          <p:spPr>
            <a:xfrm>
              <a:off x="4558256" y="1766923"/>
              <a:ext cx="0" cy="2447565"/>
            </a:xfrm>
            <a:prstGeom prst="line">
              <a:avLst/>
            </a:prstGeom>
            <a:ln w="3175"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2365072" y="1766923"/>
              <a:ext cx="0" cy="2447565"/>
            </a:xfrm>
            <a:prstGeom prst="line">
              <a:avLst/>
            </a:prstGeom>
            <a:ln w="3175"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 userDrawn="1"/>
          </p:nvCxnSpPr>
          <p:spPr>
            <a:xfrm>
              <a:off x="6751439" y="1766923"/>
              <a:ext cx="0" cy="2447565"/>
            </a:xfrm>
            <a:prstGeom prst="line">
              <a:avLst/>
            </a:prstGeom>
            <a:ln w="3175"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52855017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7939" y="6547380"/>
            <a:ext cx="3136900" cy="10002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>
              <a:defRPr lang="en-US" smtClean="0"/>
            </a:lvl1pPr>
          </a:lstStyle>
          <a:p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35360" y="1729790"/>
            <a:ext cx="1465263" cy="1160382"/>
          </a:xfrm>
        </p:spPr>
        <p:txBody>
          <a:bodyPr/>
          <a:lstStyle>
            <a:lvl1pPr>
              <a:defRPr sz="1300">
                <a:latin typeface="ＭＳ Ｐゴシック" panose="020B0600070205080204" pitchFamily="50" charset="-128"/>
              </a:defRPr>
            </a:lvl1pPr>
            <a:lvl2pPr marL="122102" indent="-122102">
              <a:defRPr sz="1192">
                <a:latin typeface="ＭＳ Ｐゴシック" panose="020B0600070205080204" pitchFamily="50" charset="-128"/>
              </a:defRPr>
            </a:lvl2pPr>
            <a:lvl3pPr marL="245923" indent="-123821">
              <a:defRPr sz="1083"/>
            </a:lvl3pPr>
            <a:lvl4pPr marL="368024" indent="-122102">
              <a:defRPr sz="975"/>
            </a:lvl4pPr>
            <a:lvl5pPr marL="498724" indent="-130700">
              <a:defRPr sz="867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Content Placeholder 8"/>
          <p:cNvSpPr>
            <a:spLocks noGrp="1"/>
          </p:cNvSpPr>
          <p:nvPr>
            <p:ph sz="quarter" idx="14"/>
          </p:nvPr>
        </p:nvSpPr>
        <p:spPr>
          <a:xfrm>
            <a:off x="1889363" y="1729790"/>
            <a:ext cx="1465263" cy="1160382"/>
          </a:xfrm>
        </p:spPr>
        <p:txBody>
          <a:bodyPr/>
          <a:lstStyle>
            <a:lvl1pPr>
              <a:defRPr sz="1300">
                <a:latin typeface="ＭＳ Ｐゴシック" panose="020B0600070205080204" pitchFamily="50" charset="-128"/>
              </a:defRPr>
            </a:lvl1pPr>
            <a:lvl2pPr marL="122102" indent="-122102">
              <a:defRPr sz="1192">
                <a:latin typeface="ＭＳ Ｐゴシック" panose="020B0600070205080204" pitchFamily="50" charset="-128"/>
              </a:defRPr>
            </a:lvl2pPr>
            <a:lvl3pPr marL="245923" indent="-123821">
              <a:defRPr sz="1083"/>
            </a:lvl3pPr>
            <a:lvl4pPr marL="368024" indent="-122102">
              <a:defRPr sz="975"/>
            </a:lvl4pPr>
            <a:lvl5pPr marL="498724" indent="-130700">
              <a:defRPr sz="867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Content Placeholder 8"/>
          <p:cNvSpPr>
            <a:spLocks noGrp="1"/>
          </p:cNvSpPr>
          <p:nvPr>
            <p:ph sz="quarter" idx="15"/>
          </p:nvPr>
        </p:nvSpPr>
        <p:spPr>
          <a:xfrm>
            <a:off x="3443367" y="1729790"/>
            <a:ext cx="1465263" cy="1160382"/>
          </a:xfrm>
        </p:spPr>
        <p:txBody>
          <a:bodyPr/>
          <a:lstStyle>
            <a:lvl1pPr>
              <a:defRPr sz="1300">
                <a:latin typeface="ＭＳ Ｐゴシック" panose="020B0600070205080204" pitchFamily="50" charset="-128"/>
              </a:defRPr>
            </a:lvl1pPr>
            <a:lvl2pPr marL="122102" indent="-122102">
              <a:defRPr sz="1192">
                <a:latin typeface="ＭＳ Ｐゴシック" panose="020B0600070205080204" pitchFamily="50" charset="-128"/>
              </a:defRPr>
            </a:lvl2pPr>
            <a:lvl3pPr marL="245923" indent="-123821">
              <a:defRPr sz="1083"/>
            </a:lvl3pPr>
            <a:lvl4pPr marL="368024" indent="-122102">
              <a:defRPr sz="975"/>
            </a:lvl4pPr>
            <a:lvl5pPr marL="498724" indent="-130700">
              <a:defRPr sz="867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Content Placeholder 8"/>
          <p:cNvSpPr>
            <a:spLocks noGrp="1"/>
          </p:cNvSpPr>
          <p:nvPr>
            <p:ph sz="quarter" idx="16"/>
          </p:nvPr>
        </p:nvSpPr>
        <p:spPr>
          <a:xfrm>
            <a:off x="4997371" y="1729790"/>
            <a:ext cx="1465263" cy="1160382"/>
          </a:xfrm>
        </p:spPr>
        <p:txBody>
          <a:bodyPr/>
          <a:lstStyle>
            <a:lvl1pPr>
              <a:defRPr sz="1300">
                <a:latin typeface="ＭＳ Ｐゴシック" panose="020B0600070205080204" pitchFamily="50" charset="-128"/>
              </a:defRPr>
            </a:lvl1pPr>
            <a:lvl2pPr marL="122102" indent="-122102">
              <a:defRPr sz="1192">
                <a:latin typeface="ＭＳ Ｐゴシック" panose="020B0600070205080204" pitchFamily="50" charset="-128"/>
              </a:defRPr>
            </a:lvl2pPr>
            <a:lvl3pPr marL="245923" indent="-123821">
              <a:defRPr sz="1083"/>
            </a:lvl3pPr>
            <a:lvl4pPr marL="368024" indent="-122102">
              <a:defRPr sz="975"/>
            </a:lvl4pPr>
            <a:lvl5pPr marL="498724" indent="-130700">
              <a:defRPr sz="867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Content Placeholder 8"/>
          <p:cNvSpPr>
            <a:spLocks noGrp="1"/>
          </p:cNvSpPr>
          <p:nvPr>
            <p:ph sz="quarter" idx="17"/>
          </p:nvPr>
        </p:nvSpPr>
        <p:spPr>
          <a:xfrm>
            <a:off x="6551375" y="1729790"/>
            <a:ext cx="1465263" cy="1160382"/>
          </a:xfrm>
        </p:spPr>
        <p:txBody>
          <a:bodyPr/>
          <a:lstStyle>
            <a:lvl1pPr>
              <a:defRPr sz="1300">
                <a:latin typeface="ＭＳ Ｐゴシック" panose="020B0600070205080204" pitchFamily="50" charset="-128"/>
              </a:defRPr>
            </a:lvl1pPr>
            <a:lvl2pPr marL="122102" indent="-122102">
              <a:defRPr sz="1192">
                <a:latin typeface="ＭＳ Ｐゴシック" panose="020B0600070205080204" pitchFamily="50" charset="-128"/>
              </a:defRPr>
            </a:lvl2pPr>
            <a:lvl3pPr marL="245923" indent="-123821">
              <a:defRPr sz="1083"/>
            </a:lvl3pPr>
            <a:lvl4pPr marL="368024" indent="-122102">
              <a:defRPr sz="975"/>
            </a:lvl4pPr>
            <a:lvl5pPr marL="498724" indent="-130700">
              <a:defRPr sz="867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Content Placeholder 8"/>
          <p:cNvSpPr>
            <a:spLocks noGrp="1"/>
          </p:cNvSpPr>
          <p:nvPr>
            <p:ph sz="quarter" idx="18"/>
          </p:nvPr>
        </p:nvSpPr>
        <p:spPr>
          <a:xfrm>
            <a:off x="8105378" y="1729790"/>
            <a:ext cx="1465263" cy="1160382"/>
          </a:xfrm>
        </p:spPr>
        <p:txBody>
          <a:bodyPr/>
          <a:lstStyle>
            <a:lvl1pPr>
              <a:defRPr sz="1300">
                <a:latin typeface="ＭＳ Ｐゴシック" panose="020B0600070205080204" pitchFamily="50" charset="-128"/>
              </a:defRPr>
            </a:lvl1pPr>
            <a:lvl2pPr marL="122102" indent="-122102">
              <a:defRPr sz="1192">
                <a:latin typeface="ＭＳ Ｐゴシック" panose="020B0600070205080204" pitchFamily="50" charset="-128"/>
              </a:defRPr>
            </a:lvl2pPr>
            <a:lvl3pPr marL="245923" indent="-123821">
              <a:defRPr sz="1083"/>
            </a:lvl3pPr>
            <a:lvl4pPr marL="368024" indent="-122102">
              <a:defRPr sz="975"/>
            </a:lvl4pPr>
            <a:lvl5pPr marL="498724" indent="-130700">
              <a:defRPr sz="867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9708914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Content with Foc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35360" y="1723397"/>
            <a:ext cx="1452189" cy="560218"/>
          </a:xfrm>
        </p:spPr>
        <p:txBody>
          <a:bodyPr/>
          <a:lstStyle>
            <a:lvl1pPr algn="ctr">
              <a:defRPr sz="1300">
                <a:solidFill>
                  <a:schemeClr val="tx2"/>
                </a:solidFill>
                <a:latin typeface="ＭＳ Ｐゴシック" panose="020B0600070205080204" pitchFamily="50" charset="-128"/>
              </a:defRPr>
            </a:lvl1pPr>
            <a:lvl2pPr marL="0" indent="0" algn="ctr">
              <a:buNone/>
              <a:defRPr sz="867"/>
            </a:lvl2pPr>
            <a:lvl3pPr marL="245923" indent="-118663">
              <a:defRPr sz="542"/>
            </a:lvl3pPr>
            <a:lvl4pPr marL="373184" indent="-127261">
              <a:defRPr sz="433"/>
            </a:lvl4pPr>
            <a:lvl5pPr marL="498724" indent="-125541">
              <a:defRPr sz="542"/>
            </a:lvl5pPr>
            <a:lvl6pPr>
              <a:defRPr sz="1950"/>
            </a:lvl6pPr>
            <a:lvl7pPr>
              <a:defRPr sz="1950"/>
            </a:lvl7pPr>
            <a:lvl8pPr>
              <a:defRPr sz="1950"/>
            </a:lvl8pPr>
            <a:lvl9pPr>
              <a:defRPr sz="195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7939" y="6547380"/>
            <a:ext cx="3136900" cy="10002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>
              <a:defRPr lang="en-US" smtClean="0"/>
            </a:lvl1pPr>
          </a:lstStyle>
          <a:p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8"/>
          </p:nvPr>
        </p:nvSpPr>
        <p:spPr>
          <a:xfrm>
            <a:off x="335360" y="5097991"/>
            <a:ext cx="2867332" cy="133434"/>
          </a:xfrm>
        </p:spPr>
        <p:txBody>
          <a:bodyPr/>
          <a:lstStyle>
            <a:lvl1pPr>
              <a:defRPr sz="867">
                <a:solidFill>
                  <a:schemeClr val="tx1"/>
                </a:solidFill>
                <a:latin typeface="ＭＳ Ｐゴシック" panose="020B0600070205080204" pitchFamily="50" charset="-128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1839693" y="1705065"/>
            <a:ext cx="6226627" cy="3336740"/>
            <a:chOff x="1698178" y="1278798"/>
            <a:chExt cx="5747656" cy="2502555"/>
          </a:xfrm>
        </p:grpSpPr>
        <p:cxnSp>
          <p:nvCxnSpPr>
            <p:cNvPr id="19" name="Straight Connector 18"/>
            <p:cNvCxnSpPr/>
            <p:nvPr userDrawn="1"/>
          </p:nvCxnSpPr>
          <p:spPr>
            <a:xfrm>
              <a:off x="4572006" y="1278798"/>
              <a:ext cx="0" cy="2502555"/>
            </a:xfrm>
            <a:prstGeom prst="line">
              <a:avLst/>
            </a:prstGeom>
            <a:ln w="9525">
              <a:solidFill>
                <a:srgbClr val="CCCCC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6008920" y="1278798"/>
              <a:ext cx="0" cy="2502555"/>
            </a:xfrm>
            <a:prstGeom prst="line">
              <a:avLst/>
            </a:prstGeom>
            <a:ln w="9525">
              <a:solidFill>
                <a:srgbClr val="CCCCC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7445834" y="1278798"/>
              <a:ext cx="0" cy="2502555"/>
            </a:xfrm>
            <a:prstGeom prst="line">
              <a:avLst/>
            </a:prstGeom>
            <a:ln w="9525">
              <a:solidFill>
                <a:srgbClr val="CCCCC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3135092" y="1278798"/>
              <a:ext cx="0" cy="2502555"/>
            </a:xfrm>
            <a:prstGeom prst="line">
              <a:avLst/>
            </a:prstGeom>
            <a:ln w="9525">
              <a:solidFill>
                <a:srgbClr val="CCCCC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698178" y="1278798"/>
              <a:ext cx="0" cy="2502555"/>
            </a:xfrm>
            <a:prstGeom prst="line">
              <a:avLst/>
            </a:prstGeom>
            <a:ln w="9525">
              <a:solidFill>
                <a:srgbClr val="CCCCC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4" name="Group 23"/>
          <p:cNvGrpSpPr/>
          <p:nvPr userDrawn="1"/>
        </p:nvGrpSpPr>
        <p:grpSpPr>
          <a:xfrm>
            <a:off x="1839693" y="5610156"/>
            <a:ext cx="6226627" cy="550013"/>
            <a:chOff x="1698178" y="1278798"/>
            <a:chExt cx="5747656" cy="2502555"/>
          </a:xfrm>
        </p:grpSpPr>
        <p:cxnSp>
          <p:nvCxnSpPr>
            <p:cNvPr id="25" name="Straight Connector 24"/>
            <p:cNvCxnSpPr/>
            <p:nvPr userDrawn="1"/>
          </p:nvCxnSpPr>
          <p:spPr>
            <a:xfrm>
              <a:off x="4572006" y="1278798"/>
              <a:ext cx="0" cy="2502555"/>
            </a:xfrm>
            <a:prstGeom prst="line">
              <a:avLst/>
            </a:prstGeom>
            <a:ln w="9525">
              <a:solidFill>
                <a:srgbClr val="CCCCC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6008920" y="1278798"/>
              <a:ext cx="0" cy="2502555"/>
            </a:xfrm>
            <a:prstGeom prst="line">
              <a:avLst/>
            </a:prstGeom>
            <a:ln w="9525">
              <a:solidFill>
                <a:srgbClr val="CCCCC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7445834" y="1278798"/>
              <a:ext cx="0" cy="2502555"/>
            </a:xfrm>
            <a:prstGeom prst="line">
              <a:avLst/>
            </a:prstGeom>
            <a:ln w="9525">
              <a:solidFill>
                <a:srgbClr val="CCCCC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3135092" y="1278798"/>
              <a:ext cx="0" cy="2502555"/>
            </a:xfrm>
            <a:prstGeom prst="line">
              <a:avLst/>
            </a:prstGeom>
            <a:ln w="9525">
              <a:solidFill>
                <a:srgbClr val="CCCCC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1698178" y="1278798"/>
              <a:ext cx="0" cy="2502555"/>
            </a:xfrm>
            <a:prstGeom prst="line">
              <a:avLst/>
            </a:prstGeom>
            <a:ln w="9525">
              <a:solidFill>
                <a:srgbClr val="CCCCC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Text Placehold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588169" y="5673334"/>
            <a:ext cx="952765" cy="333489"/>
          </a:xfrm>
        </p:spPr>
        <p:txBody>
          <a:bodyPr/>
          <a:lstStyle>
            <a:lvl1pPr algn="ctr">
              <a:defRPr sz="2167">
                <a:solidFill>
                  <a:schemeClr val="tx2"/>
                </a:solidFill>
                <a:latin typeface="ＭＳ Ｐゴシック" panose="020B0600070205080204" pitchFamily="50" charset="-128"/>
              </a:defRPr>
            </a:lvl1pPr>
          </a:lstStyle>
          <a:p>
            <a:pPr lvl="0"/>
            <a:r>
              <a:rPr lang="en-US" dirty="0"/>
              <a:t>XX%</a:t>
            </a:r>
          </a:p>
        </p:txBody>
      </p:sp>
      <p:sp>
        <p:nvSpPr>
          <p:cNvPr id="30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2146316" y="5673334"/>
            <a:ext cx="952765" cy="333489"/>
          </a:xfrm>
        </p:spPr>
        <p:txBody>
          <a:bodyPr/>
          <a:lstStyle>
            <a:lvl1pPr algn="ctr">
              <a:defRPr sz="2167">
                <a:solidFill>
                  <a:schemeClr val="tx2"/>
                </a:solidFill>
                <a:latin typeface="ＭＳ Ｐゴシック" panose="020B0600070205080204" pitchFamily="50" charset="-128"/>
              </a:defRPr>
            </a:lvl1pPr>
          </a:lstStyle>
          <a:p>
            <a:pPr lvl="0"/>
            <a:r>
              <a:rPr lang="en-US" dirty="0"/>
              <a:t>XX%</a:t>
            </a:r>
          </a:p>
        </p:txBody>
      </p:sp>
      <p:sp>
        <p:nvSpPr>
          <p:cNvPr id="31" name="Text Placeholder 12"/>
          <p:cNvSpPr>
            <a:spLocks noGrp="1"/>
          </p:cNvSpPr>
          <p:nvPr>
            <p:ph type="body" sz="quarter" idx="21" hasCustomPrompt="1"/>
          </p:nvPr>
        </p:nvSpPr>
        <p:spPr>
          <a:xfrm>
            <a:off x="3704462" y="5673334"/>
            <a:ext cx="952765" cy="333489"/>
          </a:xfrm>
        </p:spPr>
        <p:txBody>
          <a:bodyPr/>
          <a:lstStyle>
            <a:lvl1pPr algn="ctr">
              <a:defRPr sz="2167">
                <a:solidFill>
                  <a:schemeClr val="tx2"/>
                </a:solidFill>
                <a:latin typeface="ＭＳ Ｐゴシック" panose="020B0600070205080204" pitchFamily="50" charset="-128"/>
              </a:defRPr>
            </a:lvl1pPr>
          </a:lstStyle>
          <a:p>
            <a:pPr lvl="0"/>
            <a:r>
              <a:rPr lang="en-US" dirty="0"/>
              <a:t>XX%</a:t>
            </a:r>
          </a:p>
        </p:txBody>
      </p:sp>
      <p:sp>
        <p:nvSpPr>
          <p:cNvPr id="32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5262608" y="5673334"/>
            <a:ext cx="952765" cy="333489"/>
          </a:xfrm>
        </p:spPr>
        <p:txBody>
          <a:bodyPr/>
          <a:lstStyle>
            <a:lvl1pPr algn="ctr">
              <a:defRPr sz="2167">
                <a:solidFill>
                  <a:schemeClr val="tx2"/>
                </a:solidFill>
                <a:latin typeface="ＭＳ Ｐゴシック" panose="020B0600070205080204" pitchFamily="50" charset="-128"/>
              </a:defRPr>
            </a:lvl1pPr>
          </a:lstStyle>
          <a:p>
            <a:pPr lvl="0"/>
            <a:r>
              <a:rPr lang="en-US" dirty="0"/>
              <a:t>XX%</a:t>
            </a:r>
          </a:p>
        </p:txBody>
      </p:sp>
      <p:sp>
        <p:nvSpPr>
          <p:cNvPr id="33" name="Text Placeholder 12"/>
          <p:cNvSpPr>
            <a:spLocks noGrp="1"/>
          </p:cNvSpPr>
          <p:nvPr>
            <p:ph type="body" sz="quarter" idx="23" hasCustomPrompt="1"/>
          </p:nvPr>
        </p:nvSpPr>
        <p:spPr>
          <a:xfrm>
            <a:off x="6820755" y="5673334"/>
            <a:ext cx="952765" cy="333489"/>
          </a:xfrm>
        </p:spPr>
        <p:txBody>
          <a:bodyPr/>
          <a:lstStyle>
            <a:lvl1pPr algn="ctr">
              <a:defRPr sz="2167">
                <a:solidFill>
                  <a:schemeClr val="tx2"/>
                </a:solidFill>
                <a:latin typeface="ＭＳ Ｐゴシック" panose="020B0600070205080204" pitchFamily="50" charset="-128"/>
              </a:defRPr>
            </a:lvl1pPr>
          </a:lstStyle>
          <a:p>
            <a:pPr lvl="0"/>
            <a:r>
              <a:rPr lang="en-US" dirty="0"/>
              <a:t>XX%</a:t>
            </a:r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24" hasCustomPrompt="1"/>
          </p:nvPr>
        </p:nvSpPr>
        <p:spPr>
          <a:xfrm>
            <a:off x="8378902" y="5673334"/>
            <a:ext cx="952765" cy="333489"/>
          </a:xfrm>
        </p:spPr>
        <p:txBody>
          <a:bodyPr/>
          <a:lstStyle>
            <a:lvl1pPr algn="ctr">
              <a:defRPr sz="2167">
                <a:solidFill>
                  <a:schemeClr val="tx2"/>
                </a:solidFill>
                <a:latin typeface="ＭＳ Ｐゴシック" panose="020B0600070205080204" pitchFamily="50" charset="-128"/>
              </a:defRPr>
            </a:lvl1pPr>
          </a:lstStyle>
          <a:p>
            <a:pPr lvl="0"/>
            <a:r>
              <a:rPr lang="en-US" dirty="0"/>
              <a:t>XX%</a:t>
            </a:r>
          </a:p>
        </p:txBody>
      </p:sp>
      <p:sp>
        <p:nvSpPr>
          <p:cNvPr id="41" name="Content Placeholder 2"/>
          <p:cNvSpPr>
            <a:spLocks noGrp="1"/>
          </p:cNvSpPr>
          <p:nvPr>
            <p:ph sz="half" idx="31"/>
          </p:nvPr>
        </p:nvSpPr>
        <p:spPr>
          <a:xfrm>
            <a:off x="1890489" y="1723397"/>
            <a:ext cx="1452189" cy="560218"/>
          </a:xfrm>
        </p:spPr>
        <p:txBody>
          <a:bodyPr/>
          <a:lstStyle>
            <a:lvl1pPr algn="ctr">
              <a:defRPr sz="1300">
                <a:solidFill>
                  <a:schemeClr val="tx2"/>
                </a:solidFill>
                <a:latin typeface="ＭＳ Ｐゴシック" panose="020B0600070205080204" pitchFamily="50" charset="-128"/>
              </a:defRPr>
            </a:lvl1pPr>
            <a:lvl2pPr marL="0" indent="0" algn="ctr">
              <a:buNone/>
              <a:defRPr sz="867"/>
            </a:lvl2pPr>
            <a:lvl3pPr marL="245923" indent="-118663">
              <a:defRPr sz="542"/>
            </a:lvl3pPr>
            <a:lvl4pPr marL="373184" indent="-127261">
              <a:defRPr sz="433"/>
            </a:lvl4pPr>
            <a:lvl5pPr marL="498724" indent="-125541">
              <a:defRPr sz="542"/>
            </a:lvl5pPr>
            <a:lvl6pPr>
              <a:defRPr sz="1950"/>
            </a:lvl6pPr>
            <a:lvl7pPr>
              <a:defRPr sz="1950"/>
            </a:lvl7pPr>
            <a:lvl8pPr>
              <a:defRPr sz="1950"/>
            </a:lvl8pPr>
            <a:lvl9pPr>
              <a:defRPr sz="195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2" name="Content Placeholder 2"/>
          <p:cNvSpPr>
            <a:spLocks noGrp="1"/>
          </p:cNvSpPr>
          <p:nvPr>
            <p:ph sz="half" idx="32"/>
          </p:nvPr>
        </p:nvSpPr>
        <p:spPr>
          <a:xfrm>
            <a:off x="3445619" y="1723397"/>
            <a:ext cx="1452189" cy="560218"/>
          </a:xfrm>
        </p:spPr>
        <p:txBody>
          <a:bodyPr/>
          <a:lstStyle>
            <a:lvl1pPr algn="ctr">
              <a:defRPr sz="1300">
                <a:solidFill>
                  <a:schemeClr val="tx2"/>
                </a:solidFill>
                <a:latin typeface="ＭＳ Ｐゴシック" panose="020B0600070205080204" pitchFamily="50" charset="-128"/>
              </a:defRPr>
            </a:lvl1pPr>
            <a:lvl2pPr marL="0" indent="0" algn="ctr">
              <a:buNone/>
              <a:defRPr sz="867"/>
            </a:lvl2pPr>
            <a:lvl3pPr marL="245923" indent="-118663">
              <a:defRPr sz="542"/>
            </a:lvl3pPr>
            <a:lvl4pPr marL="373184" indent="-127261">
              <a:defRPr sz="433"/>
            </a:lvl4pPr>
            <a:lvl5pPr marL="498724" indent="-125541">
              <a:defRPr sz="542"/>
            </a:lvl5pPr>
            <a:lvl6pPr>
              <a:defRPr sz="1950"/>
            </a:lvl6pPr>
            <a:lvl7pPr>
              <a:defRPr sz="1950"/>
            </a:lvl7pPr>
            <a:lvl8pPr>
              <a:defRPr sz="1950"/>
            </a:lvl8pPr>
            <a:lvl9pPr>
              <a:defRPr sz="195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3" name="Content Placeholder 2"/>
          <p:cNvSpPr>
            <a:spLocks noGrp="1"/>
          </p:cNvSpPr>
          <p:nvPr>
            <p:ph sz="half" idx="33"/>
          </p:nvPr>
        </p:nvSpPr>
        <p:spPr>
          <a:xfrm>
            <a:off x="5000748" y="1723397"/>
            <a:ext cx="1452189" cy="560218"/>
          </a:xfrm>
        </p:spPr>
        <p:txBody>
          <a:bodyPr/>
          <a:lstStyle>
            <a:lvl1pPr algn="ctr">
              <a:defRPr sz="1300">
                <a:solidFill>
                  <a:schemeClr val="tx2"/>
                </a:solidFill>
                <a:latin typeface="ＭＳ Ｐゴシック" panose="020B0600070205080204" pitchFamily="50" charset="-128"/>
              </a:defRPr>
            </a:lvl1pPr>
            <a:lvl2pPr marL="0" indent="0" algn="ctr">
              <a:buNone/>
              <a:defRPr sz="867"/>
            </a:lvl2pPr>
            <a:lvl3pPr marL="245923" indent="-118663">
              <a:defRPr sz="542"/>
            </a:lvl3pPr>
            <a:lvl4pPr marL="373184" indent="-127261">
              <a:defRPr sz="433"/>
            </a:lvl4pPr>
            <a:lvl5pPr marL="498724" indent="-125541">
              <a:defRPr sz="542"/>
            </a:lvl5pPr>
            <a:lvl6pPr>
              <a:defRPr sz="1950"/>
            </a:lvl6pPr>
            <a:lvl7pPr>
              <a:defRPr sz="1950"/>
            </a:lvl7pPr>
            <a:lvl8pPr>
              <a:defRPr sz="1950"/>
            </a:lvl8pPr>
            <a:lvl9pPr>
              <a:defRPr sz="195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4" name="Content Placeholder 2"/>
          <p:cNvSpPr>
            <a:spLocks noGrp="1"/>
          </p:cNvSpPr>
          <p:nvPr>
            <p:ph sz="half" idx="34"/>
          </p:nvPr>
        </p:nvSpPr>
        <p:spPr>
          <a:xfrm>
            <a:off x="6555877" y="1723397"/>
            <a:ext cx="1452189" cy="560218"/>
          </a:xfrm>
        </p:spPr>
        <p:txBody>
          <a:bodyPr/>
          <a:lstStyle>
            <a:lvl1pPr algn="ctr">
              <a:defRPr sz="1300">
                <a:solidFill>
                  <a:schemeClr val="tx2"/>
                </a:solidFill>
                <a:latin typeface="ＭＳ Ｐゴシック" panose="020B0600070205080204" pitchFamily="50" charset="-128"/>
              </a:defRPr>
            </a:lvl1pPr>
            <a:lvl2pPr marL="0" indent="0" algn="ctr">
              <a:buNone/>
              <a:defRPr sz="867"/>
            </a:lvl2pPr>
            <a:lvl3pPr marL="245923" indent="-118663">
              <a:defRPr sz="542"/>
            </a:lvl3pPr>
            <a:lvl4pPr marL="373184" indent="-127261">
              <a:defRPr sz="433"/>
            </a:lvl4pPr>
            <a:lvl5pPr marL="498724" indent="-125541">
              <a:defRPr sz="542"/>
            </a:lvl5pPr>
            <a:lvl6pPr>
              <a:defRPr sz="1950"/>
            </a:lvl6pPr>
            <a:lvl7pPr>
              <a:defRPr sz="1950"/>
            </a:lvl7pPr>
            <a:lvl8pPr>
              <a:defRPr sz="1950"/>
            </a:lvl8pPr>
            <a:lvl9pPr>
              <a:defRPr sz="195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5" name="Content Placeholder 2"/>
          <p:cNvSpPr>
            <a:spLocks noGrp="1"/>
          </p:cNvSpPr>
          <p:nvPr>
            <p:ph sz="half" idx="35"/>
          </p:nvPr>
        </p:nvSpPr>
        <p:spPr>
          <a:xfrm>
            <a:off x="8111008" y="1723397"/>
            <a:ext cx="1452189" cy="560218"/>
          </a:xfrm>
        </p:spPr>
        <p:txBody>
          <a:bodyPr/>
          <a:lstStyle>
            <a:lvl1pPr algn="ctr">
              <a:defRPr sz="1300">
                <a:solidFill>
                  <a:schemeClr val="tx2"/>
                </a:solidFill>
                <a:latin typeface="ＭＳ Ｐゴシック" panose="020B0600070205080204" pitchFamily="50" charset="-128"/>
              </a:defRPr>
            </a:lvl1pPr>
            <a:lvl2pPr marL="0" indent="0" algn="ctr">
              <a:buNone/>
              <a:defRPr sz="867"/>
            </a:lvl2pPr>
            <a:lvl3pPr marL="245923" indent="-118663">
              <a:defRPr sz="542"/>
            </a:lvl3pPr>
            <a:lvl4pPr marL="373184" indent="-127261">
              <a:defRPr sz="433"/>
            </a:lvl4pPr>
            <a:lvl5pPr marL="498724" indent="-125541">
              <a:defRPr sz="542"/>
            </a:lvl5pPr>
            <a:lvl6pPr>
              <a:defRPr sz="1950"/>
            </a:lvl6pPr>
            <a:lvl7pPr>
              <a:defRPr sz="1950"/>
            </a:lvl7pPr>
            <a:lvl8pPr>
              <a:defRPr sz="1950"/>
            </a:lvl8pPr>
            <a:lvl9pPr>
              <a:defRPr sz="195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7" name="Text Placeholder 46"/>
          <p:cNvSpPr>
            <a:spLocks noGrp="1"/>
          </p:cNvSpPr>
          <p:nvPr>
            <p:ph type="body" sz="quarter" idx="36"/>
          </p:nvPr>
        </p:nvSpPr>
        <p:spPr>
          <a:xfrm>
            <a:off x="409335" y="2635611"/>
            <a:ext cx="1310481" cy="233269"/>
          </a:xfrm>
        </p:spPr>
        <p:txBody>
          <a:bodyPr/>
          <a:lstStyle>
            <a:lvl1pPr marL="61911" indent="-61911">
              <a:spcBef>
                <a:spcPts val="433"/>
              </a:spcBef>
              <a:buFont typeface="Wingdings" panose="05000000000000000000" pitchFamily="2" charset="2"/>
              <a:buChar char="§"/>
              <a:defRPr sz="758">
                <a:latin typeface="ＭＳ Ｐゴシック" panose="020B0600070205080204" pitchFamily="50" charset="-128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8" name="Text Placeholder 46"/>
          <p:cNvSpPr>
            <a:spLocks noGrp="1"/>
          </p:cNvSpPr>
          <p:nvPr>
            <p:ph type="body" sz="quarter" idx="37"/>
          </p:nvPr>
        </p:nvSpPr>
        <p:spPr>
          <a:xfrm>
            <a:off x="1969035" y="2635611"/>
            <a:ext cx="1310481" cy="233269"/>
          </a:xfrm>
        </p:spPr>
        <p:txBody>
          <a:bodyPr/>
          <a:lstStyle>
            <a:lvl1pPr marL="61911" indent="-61911">
              <a:spcBef>
                <a:spcPts val="433"/>
              </a:spcBef>
              <a:buFont typeface="Wingdings" panose="05000000000000000000" pitchFamily="2" charset="2"/>
              <a:buChar char="§"/>
              <a:defRPr sz="758">
                <a:latin typeface="ＭＳ Ｐゴシック" panose="020B0600070205080204" pitchFamily="50" charset="-128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9" name="Text Placeholder 46"/>
          <p:cNvSpPr>
            <a:spLocks noGrp="1"/>
          </p:cNvSpPr>
          <p:nvPr>
            <p:ph type="body" sz="quarter" idx="38"/>
          </p:nvPr>
        </p:nvSpPr>
        <p:spPr>
          <a:xfrm>
            <a:off x="3528735" y="2635611"/>
            <a:ext cx="1310481" cy="233269"/>
          </a:xfrm>
        </p:spPr>
        <p:txBody>
          <a:bodyPr/>
          <a:lstStyle>
            <a:lvl1pPr marL="61911" indent="-61911">
              <a:spcBef>
                <a:spcPts val="433"/>
              </a:spcBef>
              <a:buFont typeface="Wingdings" panose="05000000000000000000" pitchFamily="2" charset="2"/>
              <a:buChar char="§"/>
              <a:defRPr sz="758">
                <a:latin typeface="ＭＳ Ｐゴシック" panose="020B0600070205080204" pitchFamily="50" charset="-128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0" name="Text Placeholder 46"/>
          <p:cNvSpPr>
            <a:spLocks noGrp="1"/>
          </p:cNvSpPr>
          <p:nvPr>
            <p:ph type="body" sz="quarter" idx="39"/>
          </p:nvPr>
        </p:nvSpPr>
        <p:spPr>
          <a:xfrm>
            <a:off x="5088435" y="2635611"/>
            <a:ext cx="1310481" cy="233269"/>
          </a:xfrm>
        </p:spPr>
        <p:txBody>
          <a:bodyPr/>
          <a:lstStyle>
            <a:lvl1pPr marL="61911" indent="-61911">
              <a:spcBef>
                <a:spcPts val="433"/>
              </a:spcBef>
              <a:buFont typeface="Wingdings" panose="05000000000000000000" pitchFamily="2" charset="2"/>
              <a:buChar char="§"/>
              <a:defRPr sz="758">
                <a:latin typeface="ＭＳ Ｐゴシック" panose="020B0600070205080204" pitchFamily="50" charset="-128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1" name="Text Placeholder 46"/>
          <p:cNvSpPr>
            <a:spLocks noGrp="1"/>
          </p:cNvSpPr>
          <p:nvPr>
            <p:ph type="body" sz="quarter" idx="40"/>
          </p:nvPr>
        </p:nvSpPr>
        <p:spPr>
          <a:xfrm>
            <a:off x="6648135" y="2635611"/>
            <a:ext cx="1310481" cy="233269"/>
          </a:xfrm>
        </p:spPr>
        <p:txBody>
          <a:bodyPr/>
          <a:lstStyle>
            <a:lvl1pPr marL="61911" indent="-61911">
              <a:spcBef>
                <a:spcPts val="433"/>
              </a:spcBef>
              <a:buFont typeface="Wingdings" panose="05000000000000000000" pitchFamily="2" charset="2"/>
              <a:buChar char="§"/>
              <a:defRPr sz="758">
                <a:latin typeface="ＭＳ Ｐゴシック" panose="020B0600070205080204" pitchFamily="50" charset="-128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2" name="Text Placeholder 46"/>
          <p:cNvSpPr>
            <a:spLocks noGrp="1"/>
          </p:cNvSpPr>
          <p:nvPr>
            <p:ph type="body" sz="quarter" idx="41"/>
          </p:nvPr>
        </p:nvSpPr>
        <p:spPr>
          <a:xfrm>
            <a:off x="8207832" y="2635611"/>
            <a:ext cx="1310481" cy="233269"/>
          </a:xfrm>
        </p:spPr>
        <p:txBody>
          <a:bodyPr/>
          <a:lstStyle>
            <a:lvl1pPr marL="61911" indent="-61911">
              <a:spcBef>
                <a:spcPts val="433"/>
              </a:spcBef>
              <a:buFont typeface="Wingdings" panose="05000000000000000000" pitchFamily="2" charset="2"/>
              <a:buChar char="§"/>
              <a:defRPr sz="758">
                <a:latin typeface="ＭＳ Ｐゴシック" panose="020B0600070205080204" pitchFamily="50" charset="-128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53" name="Straight Connector 52"/>
          <p:cNvCxnSpPr/>
          <p:nvPr userDrawn="1"/>
        </p:nvCxnSpPr>
        <p:spPr>
          <a:xfrm flipV="1">
            <a:off x="336420" y="5355017"/>
            <a:ext cx="9204626" cy="1"/>
          </a:xfrm>
          <a:prstGeom prst="line">
            <a:avLst/>
          </a:prstGeom>
          <a:ln w="9525">
            <a:solidFill>
              <a:srgbClr val="CCCC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/>
          <p:cNvCxnSpPr/>
          <p:nvPr userDrawn="1"/>
        </p:nvCxnSpPr>
        <p:spPr>
          <a:xfrm flipV="1">
            <a:off x="924821" y="2476608"/>
            <a:ext cx="296672" cy="1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/>
          <p:cNvCxnSpPr/>
          <p:nvPr userDrawn="1"/>
        </p:nvCxnSpPr>
        <p:spPr>
          <a:xfrm flipV="1">
            <a:off x="2475518" y="2476609"/>
            <a:ext cx="296672" cy="1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/>
          <p:cNvCxnSpPr/>
          <p:nvPr userDrawn="1"/>
        </p:nvCxnSpPr>
        <p:spPr>
          <a:xfrm flipV="1">
            <a:off x="4026215" y="2476609"/>
            <a:ext cx="296672" cy="1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/>
          <p:cNvCxnSpPr/>
          <p:nvPr userDrawn="1"/>
        </p:nvCxnSpPr>
        <p:spPr>
          <a:xfrm flipV="1">
            <a:off x="5576913" y="2476609"/>
            <a:ext cx="296672" cy="1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/>
          <p:cNvCxnSpPr/>
          <p:nvPr userDrawn="1"/>
        </p:nvCxnSpPr>
        <p:spPr>
          <a:xfrm flipV="1">
            <a:off x="7127610" y="2478149"/>
            <a:ext cx="296672" cy="1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/>
          <p:cNvCxnSpPr/>
          <p:nvPr userDrawn="1"/>
        </p:nvCxnSpPr>
        <p:spPr>
          <a:xfrm flipV="1">
            <a:off x="8678310" y="2476606"/>
            <a:ext cx="296672" cy="1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3110997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Content with 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35360" y="1723397"/>
            <a:ext cx="1452189" cy="560218"/>
          </a:xfrm>
        </p:spPr>
        <p:txBody>
          <a:bodyPr/>
          <a:lstStyle>
            <a:lvl1pPr algn="ctr">
              <a:defRPr sz="1300">
                <a:solidFill>
                  <a:schemeClr val="tx2"/>
                </a:solidFill>
                <a:latin typeface="ＭＳ Ｐゴシック" panose="020B0600070205080204" pitchFamily="50" charset="-128"/>
              </a:defRPr>
            </a:lvl1pPr>
            <a:lvl2pPr marL="0" indent="0" algn="ctr">
              <a:buNone/>
              <a:defRPr sz="867"/>
            </a:lvl2pPr>
            <a:lvl3pPr marL="245923" indent="-118663">
              <a:defRPr sz="542"/>
            </a:lvl3pPr>
            <a:lvl4pPr marL="373184" indent="-127261">
              <a:defRPr sz="433"/>
            </a:lvl4pPr>
            <a:lvl5pPr marL="498724" indent="-125541">
              <a:defRPr sz="542"/>
            </a:lvl5pPr>
            <a:lvl6pPr>
              <a:defRPr sz="1950"/>
            </a:lvl6pPr>
            <a:lvl7pPr>
              <a:defRPr sz="1950"/>
            </a:lvl7pPr>
            <a:lvl8pPr>
              <a:defRPr sz="1950"/>
            </a:lvl8pPr>
            <a:lvl9pPr>
              <a:defRPr sz="195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7939" y="6547380"/>
            <a:ext cx="3136900" cy="10002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>
              <a:defRPr lang="en-US" smtClean="0"/>
            </a:lvl1pPr>
          </a:lstStyle>
          <a:p>
            <a:endParaRPr lang="en-US"/>
          </a:p>
        </p:txBody>
      </p:sp>
      <p:grpSp>
        <p:nvGrpSpPr>
          <p:cNvPr id="9" name="Group 8"/>
          <p:cNvGrpSpPr/>
          <p:nvPr userDrawn="1"/>
        </p:nvGrpSpPr>
        <p:grpSpPr>
          <a:xfrm>
            <a:off x="1839693" y="1705065"/>
            <a:ext cx="6226627" cy="916675"/>
            <a:chOff x="1698178" y="1278798"/>
            <a:chExt cx="5747656" cy="2502555"/>
          </a:xfrm>
        </p:grpSpPr>
        <p:cxnSp>
          <p:nvCxnSpPr>
            <p:cNvPr id="19" name="Straight Connector 18"/>
            <p:cNvCxnSpPr/>
            <p:nvPr userDrawn="1"/>
          </p:nvCxnSpPr>
          <p:spPr>
            <a:xfrm>
              <a:off x="4572006" y="1278798"/>
              <a:ext cx="0" cy="2502555"/>
            </a:xfrm>
            <a:prstGeom prst="line">
              <a:avLst/>
            </a:prstGeom>
            <a:ln w="9525">
              <a:solidFill>
                <a:srgbClr val="CCCCC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6008920" y="1278798"/>
              <a:ext cx="0" cy="2502555"/>
            </a:xfrm>
            <a:prstGeom prst="line">
              <a:avLst/>
            </a:prstGeom>
            <a:ln w="9525">
              <a:solidFill>
                <a:srgbClr val="CCCCC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7445834" y="1278798"/>
              <a:ext cx="0" cy="2502555"/>
            </a:xfrm>
            <a:prstGeom prst="line">
              <a:avLst/>
            </a:prstGeom>
            <a:ln w="9525">
              <a:solidFill>
                <a:srgbClr val="CCCCC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3135092" y="1278798"/>
              <a:ext cx="0" cy="2502555"/>
            </a:xfrm>
            <a:prstGeom prst="line">
              <a:avLst/>
            </a:prstGeom>
            <a:ln w="9525">
              <a:solidFill>
                <a:srgbClr val="CCCCC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698178" y="1278798"/>
              <a:ext cx="0" cy="2502555"/>
            </a:xfrm>
            <a:prstGeom prst="line">
              <a:avLst/>
            </a:prstGeom>
            <a:ln w="9525">
              <a:solidFill>
                <a:srgbClr val="CCCCC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1" name="Content Placeholder 2"/>
          <p:cNvSpPr>
            <a:spLocks noGrp="1"/>
          </p:cNvSpPr>
          <p:nvPr userDrawn="1">
            <p:ph sz="half" idx="31"/>
          </p:nvPr>
        </p:nvSpPr>
        <p:spPr>
          <a:xfrm>
            <a:off x="1890489" y="1723397"/>
            <a:ext cx="1452189" cy="560218"/>
          </a:xfrm>
        </p:spPr>
        <p:txBody>
          <a:bodyPr/>
          <a:lstStyle>
            <a:lvl1pPr algn="ctr">
              <a:defRPr sz="1300">
                <a:solidFill>
                  <a:schemeClr val="tx2"/>
                </a:solidFill>
                <a:latin typeface="ＭＳ Ｐゴシック" panose="020B0600070205080204" pitchFamily="50" charset="-128"/>
              </a:defRPr>
            </a:lvl1pPr>
            <a:lvl2pPr marL="0" indent="0" algn="ctr">
              <a:buNone/>
              <a:defRPr sz="867"/>
            </a:lvl2pPr>
            <a:lvl3pPr marL="245923" indent="-118663">
              <a:defRPr sz="542"/>
            </a:lvl3pPr>
            <a:lvl4pPr marL="373184" indent="-127261">
              <a:defRPr sz="433"/>
            </a:lvl4pPr>
            <a:lvl5pPr marL="498724" indent="-125541">
              <a:defRPr sz="542"/>
            </a:lvl5pPr>
            <a:lvl6pPr>
              <a:defRPr sz="1950"/>
            </a:lvl6pPr>
            <a:lvl7pPr>
              <a:defRPr sz="1950"/>
            </a:lvl7pPr>
            <a:lvl8pPr>
              <a:defRPr sz="1950"/>
            </a:lvl8pPr>
            <a:lvl9pPr>
              <a:defRPr sz="195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2" name="Content Placeholder 2"/>
          <p:cNvSpPr>
            <a:spLocks noGrp="1"/>
          </p:cNvSpPr>
          <p:nvPr userDrawn="1">
            <p:ph sz="half" idx="32"/>
          </p:nvPr>
        </p:nvSpPr>
        <p:spPr>
          <a:xfrm>
            <a:off x="3445619" y="1723397"/>
            <a:ext cx="1452189" cy="560218"/>
          </a:xfrm>
        </p:spPr>
        <p:txBody>
          <a:bodyPr/>
          <a:lstStyle>
            <a:lvl1pPr algn="ctr">
              <a:defRPr sz="1300">
                <a:solidFill>
                  <a:schemeClr val="tx2"/>
                </a:solidFill>
                <a:latin typeface="ＭＳ Ｐゴシック" panose="020B0600070205080204" pitchFamily="50" charset="-128"/>
              </a:defRPr>
            </a:lvl1pPr>
            <a:lvl2pPr marL="0" indent="0" algn="ctr">
              <a:buNone/>
              <a:defRPr sz="867"/>
            </a:lvl2pPr>
            <a:lvl3pPr marL="245923" indent="-118663">
              <a:defRPr sz="542"/>
            </a:lvl3pPr>
            <a:lvl4pPr marL="373184" indent="-127261">
              <a:defRPr sz="433"/>
            </a:lvl4pPr>
            <a:lvl5pPr marL="498724" indent="-125541">
              <a:defRPr sz="542"/>
            </a:lvl5pPr>
            <a:lvl6pPr>
              <a:defRPr sz="1950"/>
            </a:lvl6pPr>
            <a:lvl7pPr>
              <a:defRPr sz="1950"/>
            </a:lvl7pPr>
            <a:lvl8pPr>
              <a:defRPr sz="1950"/>
            </a:lvl8pPr>
            <a:lvl9pPr>
              <a:defRPr sz="195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3" name="Content Placeholder 2"/>
          <p:cNvSpPr>
            <a:spLocks noGrp="1"/>
          </p:cNvSpPr>
          <p:nvPr userDrawn="1">
            <p:ph sz="half" idx="33"/>
          </p:nvPr>
        </p:nvSpPr>
        <p:spPr>
          <a:xfrm>
            <a:off x="5000748" y="1723397"/>
            <a:ext cx="1452189" cy="560218"/>
          </a:xfrm>
        </p:spPr>
        <p:txBody>
          <a:bodyPr/>
          <a:lstStyle>
            <a:lvl1pPr algn="ctr">
              <a:defRPr sz="1300">
                <a:solidFill>
                  <a:schemeClr val="tx2"/>
                </a:solidFill>
                <a:latin typeface="ＭＳ Ｐゴシック" panose="020B0600070205080204" pitchFamily="50" charset="-128"/>
              </a:defRPr>
            </a:lvl1pPr>
            <a:lvl2pPr marL="0" indent="0" algn="ctr">
              <a:buNone/>
              <a:defRPr sz="867"/>
            </a:lvl2pPr>
            <a:lvl3pPr marL="245923" indent="-118663">
              <a:defRPr sz="542"/>
            </a:lvl3pPr>
            <a:lvl4pPr marL="373184" indent="-127261">
              <a:defRPr sz="433"/>
            </a:lvl4pPr>
            <a:lvl5pPr marL="498724" indent="-125541">
              <a:defRPr sz="542"/>
            </a:lvl5pPr>
            <a:lvl6pPr>
              <a:defRPr sz="1950"/>
            </a:lvl6pPr>
            <a:lvl7pPr>
              <a:defRPr sz="1950"/>
            </a:lvl7pPr>
            <a:lvl8pPr>
              <a:defRPr sz="1950"/>
            </a:lvl8pPr>
            <a:lvl9pPr>
              <a:defRPr sz="195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4" name="Content Placeholder 2"/>
          <p:cNvSpPr>
            <a:spLocks noGrp="1"/>
          </p:cNvSpPr>
          <p:nvPr userDrawn="1">
            <p:ph sz="half" idx="34"/>
          </p:nvPr>
        </p:nvSpPr>
        <p:spPr>
          <a:xfrm>
            <a:off x="6555877" y="1723397"/>
            <a:ext cx="1452189" cy="560218"/>
          </a:xfrm>
        </p:spPr>
        <p:txBody>
          <a:bodyPr/>
          <a:lstStyle>
            <a:lvl1pPr algn="ctr">
              <a:defRPr sz="1300">
                <a:solidFill>
                  <a:schemeClr val="tx2"/>
                </a:solidFill>
                <a:latin typeface="ＭＳ Ｐゴシック" panose="020B0600070205080204" pitchFamily="50" charset="-128"/>
              </a:defRPr>
            </a:lvl1pPr>
            <a:lvl2pPr marL="0" indent="0" algn="ctr">
              <a:buNone/>
              <a:defRPr sz="867"/>
            </a:lvl2pPr>
            <a:lvl3pPr marL="245923" indent="-118663">
              <a:defRPr sz="542"/>
            </a:lvl3pPr>
            <a:lvl4pPr marL="373184" indent="-127261">
              <a:defRPr sz="433"/>
            </a:lvl4pPr>
            <a:lvl5pPr marL="498724" indent="-125541">
              <a:defRPr sz="542"/>
            </a:lvl5pPr>
            <a:lvl6pPr>
              <a:defRPr sz="1950"/>
            </a:lvl6pPr>
            <a:lvl7pPr>
              <a:defRPr sz="1950"/>
            </a:lvl7pPr>
            <a:lvl8pPr>
              <a:defRPr sz="1950"/>
            </a:lvl8pPr>
            <a:lvl9pPr>
              <a:defRPr sz="195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5" name="Content Placeholder 2"/>
          <p:cNvSpPr>
            <a:spLocks noGrp="1"/>
          </p:cNvSpPr>
          <p:nvPr userDrawn="1">
            <p:ph sz="half" idx="35"/>
          </p:nvPr>
        </p:nvSpPr>
        <p:spPr>
          <a:xfrm>
            <a:off x="8111008" y="1723397"/>
            <a:ext cx="1452189" cy="560218"/>
          </a:xfrm>
        </p:spPr>
        <p:txBody>
          <a:bodyPr/>
          <a:lstStyle>
            <a:lvl1pPr algn="ctr">
              <a:defRPr sz="1300">
                <a:solidFill>
                  <a:schemeClr val="tx2"/>
                </a:solidFill>
                <a:latin typeface="ＭＳ Ｐゴシック" panose="020B0600070205080204" pitchFamily="50" charset="-128"/>
              </a:defRPr>
            </a:lvl1pPr>
            <a:lvl2pPr marL="0" indent="0" algn="ctr">
              <a:buNone/>
              <a:defRPr sz="867"/>
            </a:lvl2pPr>
            <a:lvl3pPr marL="245923" indent="-118663">
              <a:defRPr sz="542"/>
            </a:lvl3pPr>
            <a:lvl4pPr marL="373184" indent="-127261">
              <a:defRPr sz="433"/>
            </a:lvl4pPr>
            <a:lvl5pPr marL="498724" indent="-125541">
              <a:defRPr sz="542"/>
            </a:lvl5pPr>
            <a:lvl6pPr>
              <a:defRPr sz="1950"/>
            </a:lvl6pPr>
            <a:lvl7pPr>
              <a:defRPr sz="1950"/>
            </a:lvl7pPr>
            <a:lvl8pPr>
              <a:defRPr sz="1950"/>
            </a:lvl8pPr>
            <a:lvl9pPr>
              <a:defRPr sz="195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cxnSp>
        <p:nvCxnSpPr>
          <p:cNvPr id="46" name="Straight Connector 45"/>
          <p:cNvCxnSpPr/>
          <p:nvPr userDrawn="1"/>
        </p:nvCxnSpPr>
        <p:spPr>
          <a:xfrm>
            <a:off x="4938733" y="3494143"/>
            <a:ext cx="0" cy="2656859"/>
          </a:xfrm>
          <a:prstGeom prst="line">
            <a:avLst/>
          </a:prstGeom>
          <a:ln w="9525">
            <a:solidFill>
              <a:srgbClr val="CCCC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/>
          <p:cNvCxnSpPr/>
          <p:nvPr userDrawn="1"/>
        </p:nvCxnSpPr>
        <p:spPr>
          <a:xfrm>
            <a:off x="0" y="3038088"/>
            <a:ext cx="9906000" cy="0"/>
          </a:xfrm>
          <a:prstGeom prst="line">
            <a:avLst/>
          </a:prstGeom>
          <a:ln w="9525">
            <a:solidFill>
              <a:srgbClr val="CCCCCC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 Placeholder 2"/>
          <p:cNvSpPr>
            <a:spLocks noGrp="1"/>
          </p:cNvSpPr>
          <p:nvPr>
            <p:ph type="body" idx="36"/>
          </p:nvPr>
        </p:nvSpPr>
        <p:spPr>
          <a:xfrm>
            <a:off x="1178559" y="5512843"/>
            <a:ext cx="2648757" cy="116635"/>
          </a:xfrm>
        </p:spPr>
        <p:txBody>
          <a:bodyPr anchor="t" anchorCtr="0"/>
          <a:lstStyle>
            <a:lvl1pPr marL="0" indent="0" algn="ctr">
              <a:spcBef>
                <a:spcPts val="0"/>
              </a:spcBef>
              <a:buNone/>
              <a:defRPr sz="758" cap="all" spc="0" baseline="0">
                <a:solidFill>
                  <a:schemeClr val="bg2"/>
                </a:solidFill>
                <a:latin typeface="ＭＳ Ｐゴシック" panose="020B0600070205080204" pitchFamily="50" charset="-128"/>
              </a:defRPr>
            </a:lvl1pPr>
            <a:lvl2pPr marL="495285" indent="0">
              <a:buNone/>
              <a:defRPr sz="1950">
                <a:solidFill>
                  <a:schemeClr val="tx1">
                    <a:tint val="75000"/>
                  </a:schemeClr>
                </a:solidFill>
              </a:defRPr>
            </a:lvl2pPr>
            <a:lvl3pPr marL="990570" indent="0">
              <a:buNone/>
              <a:defRPr sz="1733">
                <a:solidFill>
                  <a:schemeClr val="tx1">
                    <a:tint val="75000"/>
                  </a:schemeClr>
                </a:solidFill>
              </a:defRPr>
            </a:lvl3pPr>
            <a:lvl4pPr marL="1485854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4pPr>
            <a:lvl5pPr marL="1981139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5pPr>
            <a:lvl6pPr marL="2476424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6pPr>
            <a:lvl7pPr marL="2971709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7pPr>
            <a:lvl8pPr marL="3466993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8pPr>
            <a:lvl9pPr marL="3962278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4" name="Text Placeholder 2"/>
          <p:cNvSpPr>
            <a:spLocks noGrp="1"/>
          </p:cNvSpPr>
          <p:nvPr>
            <p:ph type="body" idx="37"/>
          </p:nvPr>
        </p:nvSpPr>
        <p:spPr>
          <a:xfrm>
            <a:off x="5982597" y="5512843"/>
            <a:ext cx="2648757" cy="116635"/>
          </a:xfrm>
        </p:spPr>
        <p:txBody>
          <a:bodyPr anchor="t" anchorCtr="0"/>
          <a:lstStyle>
            <a:lvl1pPr marL="0" indent="0" algn="ctr">
              <a:spcBef>
                <a:spcPts val="0"/>
              </a:spcBef>
              <a:buNone/>
              <a:defRPr sz="758" cap="all" spc="0" baseline="0">
                <a:solidFill>
                  <a:schemeClr val="bg2"/>
                </a:solidFill>
                <a:latin typeface="ＭＳ Ｐゴシック" panose="020B0600070205080204" pitchFamily="50" charset="-128"/>
              </a:defRPr>
            </a:lvl1pPr>
            <a:lvl2pPr marL="495285" indent="0">
              <a:buNone/>
              <a:defRPr sz="1950">
                <a:solidFill>
                  <a:schemeClr val="tx1">
                    <a:tint val="75000"/>
                  </a:schemeClr>
                </a:solidFill>
              </a:defRPr>
            </a:lvl2pPr>
            <a:lvl3pPr marL="990570" indent="0">
              <a:buNone/>
              <a:defRPr sz="1733">
                <a:solidFill>
                  <a:schemeClr val="tx1">
                    <a:tint val="75000"/>
                  </a:schemeClr>
                </a:solidFill>
              </a:defRPr>
            </a:lvl3pPr>
            <a:lvl4pPr marL="1485854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4pPr>
            <a:lvl5pPr marL="1981139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5pPr>
            <a:lvl6pPr marL="2476424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6pPr>
            <a:lvl7pPr marL="2971709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7pPr>
            <a:lvl8pPr marL="3466993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8pPr>
            <a:lvl9pPr marL="3962278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38" hasCustomPrompt="1"/>
          </p:nvPr>
        </p:nvSpPr>
        <p:spPr>
          <a:xfrm>
            <a:off x="811846" y="5014353"/>
            <a:ext cx="3382184" cy="200055"/>
          </a:xfrm>
        </p:spPr>
        <p:txBody>
          <a:bodyPr anchor="b" anchorCtr="0"/>
          <a:lstStyle>
            <a:lvl1pPr algn="ctr">
              <a:defRPr sz="1300" baseline="0">
                <a:solidFill>
                  <a:schemeClr val="bg2"/>
                </a:solidFill>
                <a:latin typeface="ＭＳ Ｐゴシック" panose="020B0600070205080204" pitchFamily="50" charset="-128"/>
              </a:defRPr>
            </a:lvl1pPr>
          </a:lstStyle>
          <a:p>
            <a:pPr lvl="0"/>
            <a:r>
              <a:rPr lang="en-US" dirty="0"/>
              <a:t>Click to edit master text style</a:t>
            </a:r>
          </a:p>
        </p:txBody>
      </p:sp>
      <p:sp>
        <p:nvSpPr>
          <p:cNvPr id="66" name="Text Placeholder 14"/>
          <p:cNvSpPr>
            <a:spLocks noGrp="1"/>
          </p:cNvSpPr>
          <p:nvPr>
            <p:ph type="body" sz="quarter" idx="39" hasCustomPrompt="1"/>
          </p:nvPr>
        </p:nvSpPr>
        <p:spPr>
          <a:xfrm>
            <a:off x="5467658" y="4914327"/>
            <a:ext cx="3678634" cy="300082"/>
          </a:xfrm>
        </p:spPr>
        <p:txBody>
          <a:bodyPr anchor="b" anchorCtr="0"/>
          <a:lstStyle>
            <a:lvl1pPr algn="ctr">
              <a:defRPr sz="1950" baseline="0">
                <a:solidFill>
                  <a:schemeClr val="bg2"/>
                </a:solidFill>
                <a:latin typeface="ＭＳ Ｐゴシック" panose="020B0600070205080204" pitchFamily="50" charset="-128"/>
              </a:defRPr>
            </a:lvl1pPr>
          </a:lstStyle>
          <a:p>
            <a:pPr lvl="0"/>
            <a:r>
              <a:rPr lang="en-US" dirty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232906966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with Exhibi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cxnSp>
        <p:nvCxnSpPr>
          <p:cNvPr id="46" name="Straight Connector 45"/>
          <p:cNvCxnSpPr/>
          <p:nvPr userDrawn="1"/>
        </p:nvCxnSpPr>
        <p:spPr>
          <a:xfrm>
            <a:off x="4950000" y="1798297"/>
            <a:ext cx="0" cy="2340000"/>
          </a:xfrm>
          <a:prstGeom prst="line">
            <a:avLst/>
          </a:prstGeom>
          <a:ln w="3175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>
            <a:off x="450000" y="4500000"/>
            <a:ext cx="9000000" cy="0"/>
          </a:xfrm>
          <a:prstGeom prst="line">
            <a:avLst/>
          </a:prstGeom>
          <a:ln w="3175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2333299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sz="half" idx="1"/>
          </p:nvPr>
        </p:nvSpPr>
        <p:spPr>
          <a:xfrm>
            <a:off x="681038" y="1825625"/>
            <a:ext cx="4210050" cy="435133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コンテンツ プレースホルダー 3"/>
          <p:cNvSpPr>
            <a:spLocks noGrp="1"/>
          </p:cNvSpPr>
          <p:nvPr>
            <p:ph sz="half" idx="2"/>
          </p:nvPr>
        </p:nvSpPr>
        <p:spPr>
          <a:xfrm>
            <a:off x="5014913" y="1825625"/>
            <a:ext cx="4210050" cy="435133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5" name="日付プレースホルダー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6961719"/>
      </p:ext>
    </p:extLst>
  </p:cSld>
  <p:clrMapOvr>
    <a:masterClrMapping/>
  </p:clrMapOvr>
  <p:hf hdr="0" ftr="0" dt="0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dra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7939" y="6547380"/>
            <a:ext cx="3136900" cy="10002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>
              <a:defRPr lang="en-US" smtClean="0"/>
            </a:lvl1pPr>
          </a:lstStyle>
          <a:p>
            <a:endParaRPr lang="en-US"/>
          </a:p>
        </p:txBody>
      </p:sp>
      <p:sp>
        <p:nvSpPr>
          <p:cNvPr id="22" name="Content Placeholder 2"/>
          <p:cNvSpPr>
            <a:spLocks noGrp="1"/>
          </p:cNvSpPr>
          <p:nvPr>
            <p:ph sz="half" idx="18"/>
          </p:nvPr>
        </p:nvSpPr>
        <p:spPr>
          <a:xfrm>
            <a:off x="519827" y="2278806"/>
            <a:ext cx="4159157" cy="769452"/>
          </a:xfrm>
        </p:spPr>
        <p:txBody>
          <a:bodyPr>
            <a:noAutofit/>
          </a:bodyPr>
          <a:lstStyle>
            <a:lvl1pPr algn="ctr">
              <a:lnSpc>
                <a:spcPct val="110000"/>
              </a:lnSpc>
              <a:spcBef>
                <a:spcPts val="650"/>
              </a:spcBef>
              <a:spcAft>
                <a:spcPts val="0"/>
              </a:spcAft>
              <a:defRPr sz="2167">
                <a:latin typeface="ＭＳ Ｐゴシック" panose="020B0600070205080204" pitchFamily="50" charset="-128"/>
              </a:defRPr>
            </a:lvl1pPr>
            <a:lvl2pPr marL="0" indent="0" algn="ctr">
              <a:lnSpc>
                <a:spcPct val="110000"/>
              </a:lnSpc>
              <a:spcBef>
                <a:spcPts val="325"/>
              </a:spcBef>
              <a:buNone/>
              <a:defRPr sz="867"/>
            </a:lvl2pPr>
            <a:lvl3pPr marL="245923" indent="-118663" algn="ctr">
              <a:lnSpc>
                <a:spcPct val="110000"/>
              </a:lnSpc>
              <a:defRPr sz="867"/>
            </a:lvl3pPr>
            <a:lvl4pPr marL="373184" indent="-127261" algn="ctr">
              <a:lnSpc>
                <a:spcPct val="110000"/>
              </a:lnSpc>
              <a:defRPr sz="758"/>
            </a:lvl4pPr>
            <a:lvl5pPr marL="498724" indent="-125541" algn="ctr">
              <a:lnSpc>
                <a:spcPct val="110000"/>
              </a:lnSpc>
              <a:defRPr sz="867"/>
            </a:lvl5pPr>
            <a:lvl6pPr>
              <a:defRPr sz="1950"/>
            </a:lvl6pPr>
            <a:lvl7pPr>
              <a:defRPr sz="1950"/>
            </a:lvl7pPr>
            <a:lvl8pPr>
              <a:defRPr sz="1950"/>
            </a:lvl8pPr>
            <a:lvl9pPr>
              <a:defRPr sz="195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23" name="Straight Connector 22"/>
          <p:cNvCxnSpPr/>
          <p:nvPr userDrawn="1"/>
        </p:nvCxnSpPr>
        <p:spPr>
          <a:xfrm>
            <a:off x="4938111" y="2044231"/>
            <a:ext cx="0" cy="4097604"/>
          </a:xfrm>
          <a:prstGeom prst="line">
            <a:avLst/>
          </a:prstGeom>
          <a:ln w="9525">
            <a:solidFill>
              <a:srgbClr val="CCCC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flipV="1">
            <a:off x="5353658" y="4093033"/>
            <a:ext cx="4036869" cy="1"/>
          </a:xfrm>
          <a:prstGeom prst="line">
            <a:avLst/>
          </a:prstGeom>
          <a:ln w="9525">
            <a:solidFill>
              <a:srgbClr val="CCCC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 flipV="1">
            <a:off x="580972" y="4093033"/>
            <a:ext cx="4036869" cy="1"/>
          </a:xfrm>
          <a:prstGeom prst="line">
            <a:avLst/>
          </a:prstGeom>
          <a:ln w="9525">
            <a:solidFill>
              <a:srgbClr val="CCCC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 Placeholder 2"/>
          <p:cNvSpPr>
            <a:spLocks noGrp="1"/>
          </p:cNvSpPr>
          <p:nvPr>
            <p:ph type="body" idx="1"/>
          </p:nvPr>
        </p:nvSpPr>
        <p:spPr>
          <a:xfrm>
            <a:off x="1275027" y="3233683"/>
            <a:ext cx="2648757" cy="116635"/>
          </a:xfrm>
        </p:spPr>
        <p:txBody>
          <a:bodyPr anchor="t" anchorCtr="0"/>
          <a:lstStyle>
            <a:lvl1pPr marL="0" indent="0" algn="ctr">
              <a:buNone/>
              <a:defRPr sz="758" b="1" cap="all" spc="0" baseline="0">
                <a:solidFill>
                  <a:schemeClr val="bg2"/>
                </a:solidFill>
                <a:latin typeface="ＭＳ Ｐゴシック" panose="020B0600070205080204" pitchFamily="50" charset="-128"/>
              </a:defRPr>
            </a:lvl1pPr>
            <a:lvl2pPr marL="495285" indent="0">
              <a:buNone/>
              <a:defRPr sz="1950">
                <a:solidFill>
                  <a:schemeClr val="tx1">
                    <a:tint val="75000"/>
                  </a:schemeClr>
                </a:solidFill>
              </a:defRPr>
            </a:lvl2pPr>
            <a:lvl3pPr marL="990570" indent="0">
              <a:buNone/>
              <a:defRPr sz="1733">
                <a:solidFill>
                  <a:schemeClr val="tx1">
                    <a:tint val="75000"/>
                  </a:schemeClr>
                </a:solidFill>
              </a:defRPr>
            </a:lvl3pPr>
            <a:lvl4pPr marL="1485854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4pPr>
            <a:lvl5pPr marL="1981139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5pPr>
            <a:lvl6pPr marL="2476424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6pPr>
            <a:lvl7pPr marL="2971709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7pPr>
            <a:lvl8pPr marL="3466993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8pPr>
            <a:lvl9pPr marL="3962278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Content Placeholder 2"/>
          <p:cNvSpPr>
            <a:spLocks noGrp="1"/>
          </p:cNvSpPr>
          <p:nvPr>
            <p:ph sz="half" idx="19"/>
          </p:nvPr>
        </p:nvSpPr>
        <p:spPr>
          <a:xfrm>
            <a:off x="5292512" y="2278806"/>
            <a:ext cx="4159157" cy="769452"/>
          </a:xfrm>
        </p:spPr>
        <p:txBody>
          <a:bodyPr>
            <a:noAutofit/>
          </a:bodyPr>
          <a:lstStyle>
            <a:lvl1pPr algn="ctr">
              <a:lnSpc>
                <a:spcPct val="110000"/>
              </a:lnSpc>
              <a:spcBef>
                <a:spcPts val="650"/>
              </a:spcBef>
              <a:spcAft>
                <a:spcPts val="0"/>
              </a:spcAft>
              <a:defRPr sz="2167">
                <a:latin typeface="ＭＳ Ｐゴシック" panose="020B0600070205080204" pitchFamily="50" charset="-128"/>
              </a:defRPr>
            </a:lvl1pPr>
            <a:lvl2pPr marL="0" indent="0" algn="ctr">
              <a:lnSpc>
                <a:spcPct val="110000"/>
              </a:lnSpc>
              <a:spcBef>
                <a:spcPts val="325"/>
              </a:spcBef>
              <a:buNone/>
              <a:defRPr sz="867"/>
            </a:lvl2pPr>
            <a:lvl3pPr marL="245923" indent="-118663" algn="ctr">
              <a:lnSpc>
                <a:spcPct val="110000"/>
              </a:lnSpc>
              <a:defRPr sz="867"/>
            </a:lvl3pPr>
            <a:lvl4pPr marL="373184" indent="-127261" algn="ctr">
              <a:lnSpc>
                <a:spcPct val="110000"/>
              </a:lnSpc>
              <a:defRPr sz="758"/>
            </a:lvl4pPr>
            <a:lvl5pPr marL="498724" indent="-125541" algn="ctr">
              <a:lnSpc>
                <a:spcPct val="110000"/>
              </a:lnSpc>
              <a:defRPr sz="867"/>
            </a:lvl5pPr>
            <a:lvl6pPr>
              <a:defRPr sz="1950"/>
            </a:lvl6pPr>
            <a:lvl7pPr>
              <a:defRPr sz="1950"/>
            </a:lvl7pPr>
            <a:lvl8pPr>
              <a:defRPr sz="1950"/>
            </a:lvl8pPr>
            <a:lvl9pPr>
              <a:defRPr sz="195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2"/>
          <p:cNvSpPr>
            <a:spLocks noGrp="1"/>
          </p:cNvSpPr>
          <p:nvPr>
            <p:ph type="body" idx="20"/>
          </p:nvPr>
        </p:nvSpPr>
        <p:spPr>
          <a:xfrm>
            <a:off x="6047712" y="3233683"/>
            <a:ext cx="2648757" cy="116635"/>
          </a:xfrm>
        </p:spPr>
        <p:txBody>
          <a:bodyPr anchor="t" anchorCtr="0"/>
          <a:lstStyle>
            <a:lvl1pPr marL="0" indent="0" algn="ctr">
              <a:buNone/>
              <a:defRPr sz="758" b="1" cap="all" spc="0" baseline="0">
                <a:solidFill>
                  <a:schemeClr val="bg2"/>
                </a:solidFill>
                <a:latin typeface="ＭＳ Ｐゴシック" panose="020B0600070205080204" pitchFamily="50" charset="-128"/>
              </a:defRPr>
            </a:lvl1pPr>
            <a:lvl2pPr marL="495285" indent="0">
              <a:buNone/>
              <a:defRPr sz="1950">
                <a:solidFill>
                  <a:schemeClr val="tx1">
                    <a:tint val="75000"/>
                  </a:schemeClr>
                </a:solidFill>
              </a:defRPr>
            </a:lvl2pPr>
            <a:lvl3pPr marL="990570" indent="0">
              <a:buNone/>
              <a:defRPr sz="1733">
                <a:solidFill>
                  <a:schemeClr val="tx1">
                    <a:tint val="75000"/>
                  </a:schemeClr>
                </a:solidFill>
              </a:defRPr>
            </a:lvl3pPr>
            <a:lvl4pPr marL="1485854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4pPr>
            <a:lvl5pPr marL="1981139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5pPr>
            <a:lvl6pPr marL="2476424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6pPr>
            <a:lvl7pPr marL="2971709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7pPr>
            <a:lvl8pPr marL="3466993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8pPr>
            <a:lvl9pPr marL="3962278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Content Placeholder 2"/>
          <p:cNvSpPr>
            <a:spLocks noGrp="1"/>
          </p:cNvSpPr>
          <p:nvPr>
            <p:ph sz="half" idx="21"/>
          </p:nvPr>
        </p:nvSpPr>
        <p:spPr>
          <a:xfrm>
            <a:off x="519827" y="4653035"/>
            <a:ext cx="4159157" cy="769452"/>
          </a:xfrm>
        </p:spPr>
        <p:txBody>
          <a:bodyPr>
            <a:noAutofit/>
          </a:bodyPr>
          <a:lstStyle>
            <a:lvl1pPr algn="ctr">
              <a:lnSpc>
                <a:spcPct val="110000"/>
              </a:lnSpc>
              <a:spcBef>
                <a:spcPts val="650"/>
              </a:spcBef>
              <a:spcAft>
                <a:spcPts val="0"/>
              </a:spcAft>
              <a:defRPr sz="2167">
                <a:latin typeface="ＭＳ Ｐゴシック" panose="020B0600070205080204" pitchFamily="50" charset="-128"/>
              </a:defRPr>
            </a:lvl1pPr>
            <a:lvl2pPr marL="0" indent="0" algn="ctr">
              <a:lnSpc>
                <a:spcPct val="110000"/>
              </a:lnSpc>
              <a:spcBef>
                <a:spcPts val="325"/>
              </a:spcBef>
              <a:buNone/>
              <a:defRPr sz="867"/>
            </a:lvl2pPr>
            <a:lvl3pPr marL="245923" indent="-118663" algn="ctr">
              <a:lnSpc>
                <a:spcPct val="110000"/>
              </a:lnSpc>
              <a:defRPr sz="867"/>
            </a:lvl3pPr>
            <a:lvl4pPr marL="373184" indent="-127261" algn="ctr">
              <a:lnSpc>
                <a:spcPct val="110000"/>
              </a:lnSpc>
              <a:defRPr sz="758"/>
            </a:lvl4pPr>
            <a:lvl5pPr marL="498724" indent="-125541" algn="ctr">
              <a:lnSpc>
                <a:spcPct val="110000"/>
              </a:lnSpc>
              <a:defRPr sz="867"/>
            </a:lvl5pPr>
            <a:lvl6pPr>
              <a:defRPr sz="1950"/>
            </a:lvl6pPr>
            <a:lvl7pPr>
              <a:defRPr sz="1950"/>
            </a:lvl7pPr>
            <a:lvl8pPr>
              <a:defRPr sz="1950"/>
            </a:lvl8pPr>
            <a:lvl9pPr>
              <a:defRPr sz="195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2"/>
          <p:cNvSpPr>
            <a:spLocks noGrp="1"/>
          </p:cNvSpPr>
          <p:nvPr>
            <p:ph type="body" idx="22"/>
          </p:nvPr>
        </p:nvSpPr>
        <p:spPr>
          <a:xfrm>
            <a:off x="1275027" y="5607912"/>
            <a:ext cx="2648757" cy="116635"/>
          </a:xfrm>
        </p:spPr>
        <p:txBody>
          <a:bodyPr anchor="t" anchorCtr="0"/>
          <a:lstStyle>
            <a:lvl1pPr marL="0" indent="0" algn="ctr">
              <a:buNone/>
              <a:defRPr sz="758" b="1" cap="all" spc="0" baseline="0">
                <a:solidFill>
                  <a:schemeClr val="bg2"/>
                </a:solidFill>
                <a:latin typeface="ＭＳ Ｐゴシック" panose="020B0600070205080204" pitchFamily="50" charset="-128"/>
              </a:defRPr>
            </a:lvl1pPr>
            <a:lvl2pPr marL="495285" indent="0">
              <a:buNone/>
              <a:defRPr sz="1950">
                <a:solidFill>
                  <a:schemeClr val="tx1">
                    <a:tint val="75000"/>
                  </a:schemeClr>
                </a:solidFill>
              </a:defRPr>
            </a:lvl2pPr>
            <a:lvl3pPr marL="990570" indent="0">
              <a:buNone/>
              <a:defRPr sz="1733">
                <a:solidFill>
                  <a:schemeClr val="tx1">
                    <a:tint val="75000"/>
                  </a:schemeClr>
                </a:solidFill>
              </a:defRPr>
            </a:lvl3pPr>
            <a:lvl4pPr marL="1485854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4pPr>
            <a:lvl5pPr marL="1981139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5pPr>
            <a:lvl6pPr marL="2476424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6pPr>
            <a:lvl7pPr marL="2971709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7pPr>
            <a:lvl8pPr marL="3466993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8pPr>
            <a:lvl9pPr marL="3962278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Content Placeholder 2"/>
          <p:cNvSpPr>
            <a:spLocks noGrp="1"/>
          </p:cNvSpPr>
          <p:nvPr>
            <p:ph sz="half" idx="23"/>
          </p:nvPr>
        </p:nvSpPr>
        <p:spPr>
          <a:xfrm>
            <a:off x="5292512" y="4653035"/>
            <a:ext cx="4159157" cy="769452"/>
          </a:xfrm>
        </p:spPr>
        <p:txBody>
          <a:bodyPr>
            <a:noAutofit/>
          </a:bodyPr>
          <a:lstStyle>
            <a:lvl1pPr algn="ctr">
              <a:lnSpc>
                <a:spcPct val="110000"/>
              </a:lnSpc>
              <a:spcBef>
                <a:spcPts val="650"/>
              </a:spcBef>
              <a:spcAft>
                <a:spcPts val="0"/>
              </a:spcAft>
              <a:defRPr sz="2167">
                <a:latin typeface="ＭＳ Ｐゴシック" panose="020B0600070205080204" pitchFamily="50" charset="-128"/>
              </a:defRPr>
            </a:lvl1pPr>
            <a:lvl2pPr marL="0" indent="0" algn="ctr">
              <a:lnSpc>
                <a:spcPct val="110000"/>
              </a:lnSpc>
              <a:spcBef>
                <a:spcPts val="325"/>
              </a:spcBef>
              <a:buNone/>
              <a:defRPr sz="867"/>
            </a:lvl2pPr>
            <a:lvl3pPr marL="245923" indent="-118663" algn="ctr">
              <a:lnSpc>
                <a:spcPct val="110000"/>
              </a:lnSpc>
              <a:defRPr sz="867"/>
            </a:lvl3pPr>
            <a:lvl4pPr marL="373184" indent="-127261" algn="ctr">
              <a:lnSpc>
                <a:spcPct val="110000"/>
              </a:lnSpc>
              <a:defRPr sz="758"/>
            </a:lvl4pPr>
            <a:lvl5pPr marL="498724" indent="-125541" algn="ctr">
              <a:lnSpc>
                <a:spcPct val="110000"/>
              </a:lnSpc>
              <a:defRPr sz="867"/>
            </a:lvl5pPr>
            <a:lvl6pPr>
              <a:defRPr sz="1950"/>
            </a:lvl6pPr>
            <a:lvl7pPr>
              <a:defRPr sz="1950"/>
            </a:lvl7pPr>
            <a:lvl8pPr>
              <a:defRPr sz="1950"/>
            </a:lvl8pPr>
            <a:lvl9pPr>
              <a:defRPr sz="195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9" name="Text Placeholder 2"/>
          <p:cNvSpPr>
            <a:spLocks noGrp="1"/>
          </p:cNvSpPr>
          <p:nvPr>
            <p:ph type="body" idx="24"/>
          </p:nvPr>
        </p:nvSpPr>
        <p:spPr>
          <a:xfrm>
            <a:off x="6047712" y="5607912"/>
            <a:ext cx="2648757" cy="116635"/>
          </a:xfrm>
        </p:spPr>
        <p:txBody>
          <a:bodyPr anchor="t" anchorCtr="0"/>
          <a:lstStyle>
            <a:lvl1pPr marL="0" indent="0" algn="ctr">
              <a:buNone/>
              <a:defRPr sz="758" b="1" cap="all" spc="0" baseline="0">
                <a:solidFill>
                  <a:schemeClr val="bg2"/>
                </a:solidFill>
                <a:latin typeface="ＭＳ Ｐゴシック" panose="020B0600070205080204" pitchFamily="50" charset="-128"/>
              </a:defRPr>
            </a:lvl1pPr>
            <a:lvl2pPr marL="495285" indent="0">
              <a:buNone/>
              <a:defRPr sz="1950">
                <a:solidFill>
                  <a:schemeClr val="tx1">
                    <a:tint val="75000"/>
                  </a:schemeClr>
                </a:solidFill>
              </a:defRPr>
            </a:lvl2pPr>
            <a:lvl3pPr marL="990570" indent="0">
              <a:buNone/>
              <a:defRPr sz="1733">
                <a:solidFill>
                  <a:schemeClr val="tx1">
                    <a:tint val="75000"/>
                  </a:schemeClr>
                </a:solidFill>
              </a:defRPr>
            </a:lvl3pPr>
            <a:lvl4pPr marL="1485854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4pPr>
            <a:lvl5pPr marL="1981139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5pPr>
            <a:lvl6pPr marL="2476424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6pPr>
            <a:lvl7pPr marL="2971709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7pPr>
            <a:lvl8pPr marL="3466993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8pPr>
            <a:lvl9pPr marL="3962278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8480438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5360" y="784017"/>
            <a:ext cx="9235281" cy="33348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35359" y="2379359"/>
            <a:ext cx="4252684" cy="913583"/>
          </a:xfrm>
        </p:spPr>
        <p:txBody>
          <a:bodyPr/>
          <a:lstStyle>
            <a:lvl1pPr>
              <a:lnSpc>
                <a:spcPct val="100000"/>
              </a:lnSpc>
              <a:spcBef>
                <a:spcPts val="650"/>
              </a:spcBef>
              <a:defRPr sz="1517">
                <a:latin typeface="ＭＳ Ｐゴシック" panose="020B0600070205080204" pitchFamily="50" charset="-128"/>
              </a:defRPr>
            </a:lvl1pPr>
            <a:lvl2pPr>
              <a:defRPr sz="1083"/>
            </a:lvl2pPr>
            <a:lvl3pPr>
              <a:defRPr sz="975"/>
            </a:lvl3pPr>
            <a:lvl4pPr>
              <a:defRPr sz="867"/>
            </a:lvl4pPr>
            <a:lvl5pPr>
              <a:defRPr sz="758"/>
            </a:lvl5pPr>
            <a:lvl6pPr>
              <a:defRPr sz="1733"/>
            </a:lvl6pPr>
            <a:lvl7pPr>
              <a:defRPr sz="1733"/>
            </a:lvl7pPr>
            <a:lvl8pPr>
              <a:defRPr sz="1733"/>
            </a:lvl8pPr>
            <a:lvl9pPr>
              <a:defRPr sz="1733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307686" y="1818835"/>
            <a:ext cx="4254354" cy="366832"/>
          </a:xfrm>
        </p:spPr>
        <p:txBody>
          <a:bodyPr anchor="b"/>
          <a:lstStyle>
            <a:lvl1pPr marL="0" indent="0">
              <a:lnSpc>
                <a:spcPct val="110000"/>
              </a:lnSpc>
              <a:spcBef>
                <a:spcPts val="1950"/>
              </a:spcBef>
              <a:buNone/>
              <a:defRPr sz="2167" b="0">
                <a:latin typeface="ＭＳ Ｐゴシック" panose="020B0600070205080204" pitchFamily="50" charset="-128"/>
              </a:defRPr>
            </a:lvl1pPr>
            <a:lvl2pPr marL="495285" indent="0">
              <a:buNone/>
              <a:defRPr sz="2167" b="1"/>
            </a:lvl2pPr>
            <a:lvl3pPr marL="990570" indent="0">
              <a:buNone/>
              <a:defRPr sz="1950" b="1"/>
            </a:lvl3pPr>
            <a:lvl4pPr marL="1485854" indent="0">
              <a:buNone/>
              <a:defRPr sz="1733" b="1"/>
            </a:lvl4pPr>
            <a:lvl5pPr marL="1981139" indent="0">
              <a:buNone/>
              <a:defRPr sz="1733" b="1"/>
            </a:lvl5pPr>
            <a:lvl6pPr marL="2476424" indent="0">
              <a:buNone/>
              <a:defRPr sz="1733" b="1"/>
            </a:lvl6pPr>
            <a:lvl7pPr marL="2971709" indent="0">
              <a:buNone/>
              <a:defRPr sz="1733" b="1"/>
            </a:lvl7pPr>
            <a:lvl8pPr marL="3466993" indent="0">
              <a:buNone/>
              <a:defRPr sz="1733" b="1"/>
            </a:lvl8pPr>
            <a:lvl9pPr marL="3962278" indent="0">
              <a:buNone/>
              <a:defRPr sz="1733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307686" y="2385708"/>
            <a:ext cx="4254354" cy="1159292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>
              <a:lnSpc>
                <a:spcPct val="100000"/>
              </a:lnSpc>
              <a:spcBef>
                <a:spcPts val="650"/>
              </a:spcBef>
            </a:pPr>
            <a:r>
              <a:rPr lang="en-US"/>
              <a:t>Click to edit Master text styles</a:t>
            </a:r>
          </a:p>
          <a:p>
            <a:pPr lvl="1">
              <a:lnSpc>
                <a:spcPct val="100000"/>
              </a:lnSpc>
              <a:spcBef>
                <a:spcPts val="650"/>
              </a:spcBef>
            </a:pPr>
            <a:r>
              <a:rPr lang="en-US"/>
              <a:t>Second level</a:t>
            </a:r>
          </a:p>
          <a:p>
            <a:pPr lvl="2">
              <a:lnSpc>
                <a:spcPct val="100000"/>
              </a:lnSpc>
              <a:spcBef>
                <a:spcPts val="650"/>
              </a:spcBef>
            </a:pPr>
            <a:r>
              <a:rPr lang="en-US"/>
              <a:t>Third level</a:t>
            </a:r>
          </a:p>
          <a:p>
            <a:pPr lvl="3">
              <a:lnSpc>
                <a:spcPct val="100000"/>
              </a:lnSpc>
              <a:spcBef>
                <a:spcPts val="650"/>
              </a:spcBef>
            </a:pPr>
            <a:r>
              <a:rPr lang="en-US"/>
              <a:t>Fourth level</a:t>
            </a:r>
          </a:p>
          <a:p>
            <a:pPr lvl="4">
              <a:lnSpc>
                <a:spcPct val="100000"/>
              </a:lnSpc>
              <a:spcBef>
                <a:spcPts val="650"/>
              </a:spcBef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37939" y="6547380"/>
            <a:ext cx="3136900" cy="10002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>
              <a:defRPr lang="en-US" smtClean="0"/>
            </a:lvl1pPr>
          </a:lstStyle>
          <a:p>
            <a:endParaRPr lang="en-US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40519" y="1818835"/>
            <a:ext cx="4254354" cy="366832"/>
          </a:xfrm>
        </p:spPr>
        <p:txBody>
          <a:bodyPr anchor="b"/>
          <a:lstStyle>
            <a:lvl1pPr marL="0" indent="0">
              <a:lnSpc>
                <a:spcPct val="110000"/>
              </a:lnSpc>
              <a:spcBef>
                <a:spcPts val="1950"/>
              </a:spcBef>
              <a:buNone/>
              <a:defRPr sz="2167" b="0">
                <a:latin typeface="ＭＳ Ｐゴシック" panose="020B0600070205080204" pitchFamily="50" charset="-128"/>
              </a:defRPr>
            </a:lvl1pPr>
            <a:lvl2pPr marL="495285" indent="0">
              <a:buNone/>
              <a:defRPr sz="2167" b="1"/>
            </a:lvl2pPr>
            <a:lvl3pPr marL="990570" indent="0">
              <a:buNone/>
              <a:defRPr sz="1950" b="1"/>
            </a:lvl3pPr>
            <a:lvl4pPr marL="1485854" indent="0">
              <a:buNone/>
              <a:defRPr sz="1733" b="1"/>
            </a:lvl4pPr>
            <a:lvl5pPr marL="1981139" indent="0">
              <a:buNone/>
              <a:defRPr sz="1733" b="1"/>
            </a:lvl5pPr>
            <a:lvl6pPr marL="2476424" indent="0">
              <a:buNone/>
              <a:defRPr sz="1733" b="1"/>
            </a:lvl6pPr>
            <a:lvl7pPr marL="2971709" indent="0">
              <a:buNone/>
              <a:defRPr sz="1733" b="1"/>
            </a:lvl7pPr>
            <a:lvl8pPr marL="3466993" indent="0">
              <a:buNone/>
              <a:defRPr sz="1733" b="1"/>
            </a:lvl8pPr>
            <a:lvl9pPr marL="3962278" indent="0">
              <a:buNone/>
              <a:defRPr sz="1733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2853329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Left_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5360" y="784017"/>
            <a:ext cx="9235281" cy="33348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35359" y="1787721"/>
            <a:ext cx="4252684" cy="366832"/>
          </a:xfrm>
        </p:spPr>
        <p:txBody>
          <a:bodyPr vert="horz" wrap="square" lIns="0" tIns="0" rIns="0" bIns="0" rtlCol="0" anchor="b">
            <a:spAutoFit/>
          </a:bodyPr>
          <a:lstStyle>
            <a:lvl1pPr>
              <a:defRPr lang="en-US" sz="2167" b="0" dirty="0" smtClean="0"/>
            </a:lvl1pPr>
          </a:lstStyle>
          <a:p>
            <a:pPr lvl="0">
              <a:lnSpc>
                <a:spcPct val="110000"/>
              </a:lnSpc>
              <a:spcBef>
                <a:spcPts val="195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35359" y="2379359"/>
            <a:ext cx="4252684" cy="1159292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 dirty="0"/>
            </a:lvl5pPr>
          </a:lstStyle>
          <a:p>
            <a:pPr lvl="0">
              <a:lnSpc>
                <a:spcPct val="100000"/>
              </a:lnSpc>
              <a:spcBef>
                <a:spcPts val="650"/>
              </a:spcBef>
            </a:pPr>
            <a:r>
              <a:rPr lang="en-US"/>
              <a:t>Click to edit Master text styles</a:t>
            </a:r>
          </a:p>
          <a:p>
            <a:pPr lvl="1">
              <a:lnSpc>
                <a:spcPct val="100000"/>
              </a:lnSpc>
              <a:spcBef>
                <a:spcPts val="650"/>
              </a:spcBef>
            </a:pPr>
            <a:r>
              <a:rPr lang="en-US"/>
              <a:t>Second level</a:t>
            </a:r>
          </a:p>
          <a:p>
            <a:pPr lvl="2">
              <a:lnSpc>
                <a:spcPct val="100000"/>
              </a:lnSpc>
              <a:spcBef>
                <a:spcPts val="650"/>
              </a:spcBef>
            </a:pPr>
            <a:r>
              <a:rPr lang="en-US"/>
              <a:t>Third level</a:t>
            </a:r>
          </a:p>
          <a:p>
            <a:pPr lvl="3">
              <a:lnSpc>
                <a:spcPct val="100000"/>
              </a:lnSpc>
              <a:spcBef>
                <a:spcPts val="650"/>
              </a:spcBef>
            </a:pPr>
            <a:r>
              <a:rPr lang="en-US"/>
              <a:t>Fourth level</a:t>
            </a:r>
          </a:p>
          <a:p>
            <a:pPr lvl="4">
              <a:lnSpc>
                <a:spcPct val="100000"/>
              </a:lnSpc>
              <a:spcBef>
                <a:spcPts val="650"/>
              </a:spcBef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37939" y="6547380"/>
            <a:ext cx="3136900" cy="10002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>
              <a:defRPr lang="en-US" smtClean="0"/>
            </a:lvl1pPr>
          </a:lstStyle>
          <a:p>
            <a:endParaRPr lang="en-US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3"/>
          </p:nvPr>
        </p:nvSpPr>
        <p:spPr>
          <a:xfrm>
            <a:off x="5026952" y="1742865"/>
            <a:ext cx="4543690" cy="233462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28077887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5"/>
          <p:cNvSpPr>
            <a:spLocks/>
          </p:cNvSpPr>
          <p:nvPr userDrawn="1"/>
        </p:nvSpPr>
        <p:spPr bwMode="auto">
          <a:xfrm>
            <a:off x="-10318" y="4461420"/>
            <a:ext cx="9903365" cy="131233"/>
          </a:xfrm>
          <a:custGeom>
            <a:avLst/>
            <a:gdLst>
              <a:gd name="T0" fmla="*/ 5760 w 5760"/>
              <a:gd name="T1" fmla="*/ 0 h 62"/>
              <a:gd name="T2" fmla="*/ 996 w 5760"/>
              <a:gd name="T3" fmla="*/ 0 h 62"/>
              <a:gd name="T4" fmla="*/ 945 w 5760"/>
              <a:gd name="T5" fmla="*/ 62 h 62"/>
              <a:gd name="T6" fmla="*/ 888 w 5760"/>
              <a:gd name="T7" fmla="*/ 0 h 62"/>
              <a:gd name="T8" fmla="*/ 0 w 5760"/>
              <a:gd name="T9" fmla="*/ 0 h 62"/>
              <a:gd name="connsiteX0" fmla="*/ 9544 w 9544"/>
              <a:gd name="connsiteY0" fmla="*/ 0 h 10000"/>
              <a:gd name="connsiteX1" fmla="*/ 1273 w 9544"/>
              <a:gd name="connsiteY1" fmla="*/ 0 h 10000"/>
              <a:gd name="connsiteX2" fmla="*/ 1185 w 9544"/>
              <a:gd name="connsiteY2" fmla="*/ 10000 h 10000"/>
              <a:gd name="connsiteX3" fmla="*/ 1086 w 9544"/>
              <a:gd name="connsiteY3" fmla="*/ 0 h 10000"/>
              <a:gd name="connsiteX4" fmla="*/ 0 w 9544"/>
              <a:gd name="connsiteY4" fmla="*/ 0 h 10000"/>
              <a:gd name="connsiteX0" fmla="*/ 10196 w 10196"/>
              <a:gd name="connsiteY0" fmla="*/ 0 h 10000"/>
              <a:gd name="connsiteX1" fmla="*/ 1334 w 10196"/>
              <a:gd name="connsiteY1" fmla="*/ 0 h 10000"/>
              <a:gd name="connsiteX2" fmla="*/ 1242 w 10196"/>
              <a:gd name="connsiteY2" fmla="*/ 10000 h 10000"/>
              <a:gd name="connsiteX3" fmla="*/ 1138 w 10196"/>
              <a:gd name="connsiteY3" fmla="*/ 0 h 10000"/>
              <a:gd name="connsiteX4" fmla="*/ 0 w 10196"/>
              <a:gd name="connsiteY4" fmla="*/ 0 h 10000"/>
              <a:gd name="connsiteX0" fmla="*/ 10341 w 10341"/>
              <a:gd name="connsiteY0" fmla="*/ 0 h 10000"/>
              <a:gd name="connsiteX1" fmla="*/ 1334 w 10341"/>
              <a:gd name="connsiteY1" fmla="*/ 0 h 10000"/>
              <a:gd name="connsiteX2" fmla="*/ 1242 w 10341"/>
              <a:gd name="connsiteY2" fmla="*/ 10000 h 10000"/>
              <a:gd name="connsiteX3" fmla="*/ 1138 w 10341"/>
              <a:gd name="connsiteY3" fmla="*/ 0 h 10000"/>
              <a:gd name="connsiteX4" fmla="*/ 0 w 10341"/>
              <a:gd name="connsiteY4" fmla="*/ 0 h 10000"/>
              <a:gd name="connsiteX0" fmla="*/ 10475 w 10475"/>
              <a:gd name="connsiteY0" fmla="*/ 0 h 10000"/>
              <a:gd name="connsiteX1" fmla="*/ 1334 w 10475"/>
              <a:gd name="connsiteY1" fmla="*/ 0 h 10000"/>
              <a:gd name="connsiteX2" fmla="*/ 1242 w 10475"/>
              <a:gd name="connsiteY2" fmla="*/ 10000 h 10000"/>
              <a:gd name="connsiteX3" fmla="*/ 1138 w 10475"/>
              <a:gd name="connsiteY3" fmla="*/ 0 h 10000"/>
              <a:gd name="connsiteX4" fmla="*/ 0 w 10475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75" h="10000">
                <a:moveTo>
                  <a:pt x="10475" y="0"/>
                </a:moveTo>
                <a:lnTo>
                  <a:pt x="1334" y="0"/>
                </a:lnTo>
                <a:cubicBezTo>
                  <a:pt x="1303" y="3333"/>
                  <a:pt x="1272" y="6667"/>
                  <a:pt x="1242" y="10000"/>
                </a:cubicBezTo>
                <a:cubicBezTo>
                  <a:pt x="1207" y="6667"/>
                  <a:pt x="1172" y="3333"/>
                  <a:pt x="1138" y="0"/>
                </a:cubicBezTo>
                <a:lnTo>
                  <a:pt x="0" y="0"/>
                </a:lnTo>
              </a:path>
            </a:pathLst>
          </a:custGeom>
          <a:noFill/>
          <a:ln w="7938" cap="rnd">
            <a:solidFill>
              <a:srgbClr val="E1301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9060" tIns="49530" rIns="99060" bIns="49530" numCol="1" anchor="t" anchorCtr="0" compatLnSpc="1">
            <a:prstTxWarp prst="textNoShape">
              <a:avLst/>
            </a:prstTxWarp>
          </a:bodyPr>
          <a:lstStyle/>
          <a:p>
            <a:endParaRPr lang="en-US" sz="2288" dirty="0">
              <a:latin typeface="ＭＳ Ｐゴシック" panose="020B0600070205080204" pitchFamily="50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35360" y="641697"/>
            <a:ext cx="9235281" cy="533544"/>
          </a:xfrm>
        </p:spPr>
        <p:txBody>
          <a:bodyPr/>
          <a:lstStyle>
            <a:lvl1pPr>
              <a:defRPr sz="3467"/>
            </a:lvl1pPr>
          </a:lstStyle>
          <a:p>
            <a:r>
              <a:rPr lang="en-US" dirty="0"/>
              <a:t>Thank you!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37939" y="6547380"/>
            <a:ext cx="3136900" cy="10002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>
              <a:defRPr lang="en-US" smtClean="0"/>
            </a:lvl1pPr>
          </a:lstStyle>
          <a:p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35360" y="4990008"/>
            <a:ext cx="5094023" cy="105029"/>
          </a:xfrm>
        </p:spPr>
        <p:txBody>
          <a:bodyPr/>
          <a:lstStyle>
            <a:lvl1pPr>
              <a:lnSpc>
                <a:spcPct val="105000"/>
              </a:lnSpc>
              <a:spcBef>
                <a:spcPts val="0"/>
              </a:spcBef>
              <a:defRPr sz="650">
                <a:solidFill>
                  <a:schemeClr val="tx1"/>
                </a:solidFill>
                <a:latin typeface="ＭＳ Ｐゴシック" panose="020B0600070205080204" pitchFamily="50" charset="-128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337940" y="6401048"/>
            <a:ext cx="2773163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650" dirty="0">
                <a:latin typeface="ＭＳ Ｐゴシック" panose="020B0600070205080204" pitchFamily="50" charset="-128"/>
              </a:rPr>
              <a:t>PwC’s Digital</a:t>
            </a:r>
            <a:r>
              <a:rPr lang="en-US" sz="650" baseline="0" dirty="0">
                <a:latin typeface="ＭＳ Ｐゴシック" panose="020B0600070205080204" pitchFamily="50" charset="-128"/>
              </a:rPr>
              <a:t> Services</a:t>
            </a:r>
            <a:endParaRPr lang="en-US" sz="650" dirty="0">
              <a:latin typeface="ＭＳ Ｐゴシック" panose="020B060007020508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23824260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682328" y="365126"/>
            <a:ext cx="8543925" cy="1325563"/>
          </a:xfrm>
        </p:spPr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682328" y="1681163"/>
            <a:ext cx="4190702" cy="82391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4" name="コンテンツ プレースホルダー 3"/>
          <p:cNvSpPr>
            <a:spLocks noGrp="1"/>
          </p:cNvSpPr>
          <p:nvPr>
            <p:ph sz="half" idx="2"/>
          </p:nvPr>
        </p:nvSpPr>
        <p:spPr>
          <a:xfrm>
            <a:off x="682328" y="2505075"/>
            <a:ext cx="4190702" cy="368458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5" name="テキス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5014913" y="1681163"/>
            <a:ext cx="4211340" cy="82391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6" name="コンテンツ プレースホルダー 5"/>
          <p:cNvSpPr>
            <a:spLocks noGrp="1"/>
          </p:cNvSpPr>
          <p:nvPr>
            <p:ph sz="quarter" idx="4"/>
          </p:nvPr>
        </p:nvSpPr>
        <p:spPr>
          <a:xfrm>
            <a:off x="5014913" y="2505075"/>
            <a:ext cx="4211340" cy="368458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7" name="日付プレースホルダー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フッター プレースホルダー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59037606"/>
      </p:ext>
    </p:extLst>
  </p:cSld>
  <p:clrMapOvr>
    <a:masterClrMapping/>
  </p:clrMapOvr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フッター プレースホルダー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86477981"/>
      </p:ext>
    </p:extLst>
  </p:cSld>
  <p:clrMapOvr>
    <a:masterClrMapping/>
  </p:clrMapOvr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付プレースホルダー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フッター プレースホルダー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19084703"/>
      </p:ext>
    </p:extLst>
  </p:cSld>
  <p:clrMapOvr>
    <a:masterClrMapping/>
  </p:clrMapOvr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&#10;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26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>
          <a:xfrm>
            <a:off x="4211340" y="987426"/>
            <a:ext cx="5014913" cy="4873625"/>
          </a:xfrm>
        </p:spPr>
        <p:txBody>
          <a:bodyPr/>
          <a:lstStyle>
            <a:lvl1pPr>
              <a:defRPr sz="2600"/>
            </a:lvl1pPr>
            <a:lvl2pPr>
              <a:defRPr sz="2275"/>
            </a:lvl2pPr>
            <a:lvl3pPr>
              <a:defRPr sz="1950"/>
            </a:lvl3pPr>
            <a:lvl4pPr>
              <a:defRPr sz="1625"/>
            </a:lvl4pPr>
            <a:lvl5pPr>
              <a:defRPr sz="1625"/>
            </a:lvl5pPr>
            <a:lvl6pPr>
              <a:defRPr sz="1625"/>
            </a:lvl6pPr>
            <a:lvl7pPr>
              <a:defRPr sz="1625"/>
            </a:lvl7pPr>
            <a:lvl8pPr>
              <a:defRPr sz="1625"/>
            </a:lvl8pPr>
            <a:lvl9pPr>
              <a:defRPr sz="1625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テキスト プレースホルダー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300"/>
            </a:lvl1pPr>
            <a:lvl2pPr marL="371475" indent="0">
              <a:buNone/>
              <a:defRPr sz="1138"/>
            </a:lvl2pPr>
            <a:lvl3pPr marL="742950" indent="0">
              <a:buNone/>
              <a:defRPr sz="975"/>
            </a:lvl3pPr>
            <a:lvl4pPr marL="1114425" indent="0">
              <a:buNone/>
              <a:defRPr sz="813"/>
            </a:lvl4pPr>
            <a:lvl5pPr marL="1485900" indent="0">
              <a:buNone/>
              <a:defRPr sz="813"/>
            </a:lvl5pPr>
            <a:lvl6pPr marL="1857375" indent="0">
              <a:buNone/>
              <a:defRPr sz="813"/>
            </a:lvl6pPr>
            <a:lvl7pPr marL="2228850" indent="0">
              <a:buNone/>
              <a:defRPr sz="813"/>
            </a:lvl7pPr>
            <a:lvl8pPr marL="2600325" indent="0">
              <a:buNone/>
              <a:defRPr sz="813"/>
            </a:lvl8pPr>
            <a:lvl9pPr marL="2971800" indent="0">
              <a:buNone/>
              <a:defRPr sz="813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5" name="日付プレースホルダー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65599453"/>
      </p:ext>
    </p:extLst>
  </p:cSld>
  <p:clrMapOvr>
    <a:masterClrMapping/>
  </p:clrMapOvr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26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図プレースホルダー 2"/>
          <p:cNvSpPr>
            <a:spLocks noGrp="1"/>
          </p:cNvSpPr>
          <p:nvPr>
            <p:ph type="pic" idx="1"/>
          </p:nvPr>
        </p:nvSpPr>
        <p:spPr>
          <a:xfrm>
            <a:off x="4211340" y="987426"/>
            <a:ext cx="5014913" cy="4873625"/>
          </a:xfrm>
        </p:spPr>
        <p:txBody>
          <a:bodyPr/>
          <a:lstStyle>
            <a:lvl1pPr marL="0" indent="0">
              <a:buNone/>
              <a:defRPr sz="2600"/>
            </a:lvl1pPr>
            <a:lvl2pPr marL="371475" indent="0">
              <a:buNone/>
              <a:defRPr sz="2275"/>
            </a:lvl2pPr>
            <a:lvl3pPr marL="742950" indent="0">
              <a:buNone/>
              <a:defRPr sz="1950"/>
            </a:lvl3pPr>
            <a:lvl4pPr marL="1114425" indent="0">
              <a:buNone/>
              <a:defRPr sz="1625"/>
            </a:lvl4pPr>
            <a:lvl5pPr marL="1485900" indent="0">
              <a:buNone/>
              <a:defRPr sz="1625"/>
            </a:lvl5pPr>
            <a:lvl6pPr marL="1857375" indent="0">
              <a:buNone/>
              <a:defRPr sz="1625"/>
            </a:lvl6pPr>
            <a:lvl7pPr marL="2228850" indent="0">
              <a:buNone/>
              <a:defRPr sz="1625"/>
            </a:lvl7pPr>
            <a:lvl8pPr marL="2600325" indent="0">
              <a:buNone/>
              <a:defRPr sz="1625"/>
            </a:lvl8pPr>
            <a:lvl9pPr marL="2971800" indent="0">
              <a:buNone/>
              <a:defRPr sz="1625"/>
            </a:lvl9pPr>
          </a:lstStyle>
          <a:p>
            <a:endParaRPr kumimoji="1" lang="ja-JP" altLang="en-US"/>
          </a:p>
        </p:txBody>
      </p:sp>
      <p:sp>
        <p:nvSpPr>
          <p:cNvPr id="4" name="テキスト プレースホルダー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300"/>
            </a:lvl1pPr>
            <a:lvl2pPr marL="371475" indent="0">
              <a:buNone/>
              <a:defRPr sz="1138"/>
            </a:lvl2pPr>
            <a:lvl3pPr marL="742950" indent="0">
              <a:buNone/>
              <a:defRPr sz="975"/>
            </a:lvl3pPr>
            <a:lvl4pPr marL="1114425" indent="0">
              <a:buNone/>
              <a:defRPr sz="813"/>
            </a:lvl4pPr>
            <a:lvl5pPr marL="1485900" indent="0">
              <a:buNone/>
              <a:defRPr sz="813"/>
            </a:lvl5pPr>
            <a:lvl6pPr marL="1857375" indent="0">
              <a:buNone/>
              <a:defRPr sz="813"/>
            </a:lvl6pPr>
            <a:lvl7pPr marL="2228850" indent="0">
              <a:buNone/>
              <a:defRPr sz="813"/>
            </a:lvl7pPr>
            <a:lvl8pPr marL="2600325" indent="0">
              <a:buNone/>
              <a:defRPr sz="813"/>
            </a:lvl8pPr>
            <a:lvl9pPr marL="2971800" indent="0">
              <a:buNone/>
              <a:defRPr sz="813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5" name="日付プレースホルダー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79865188"/>
      </p:ext>
    </p:extLst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オブジェクト 7" hidden="1"/>
          <p:cNvGraphicFramePr>
            <a:graphicFrameLocks noChangeAspect="1"/>
          </p:cNvGraphicFramePr>
          <p:nvPr userDrawn="1">
            <p:custDataLst>
              <p:tags r:id="rId46"/>
            </p:custDataLst>
            <p:extLst>
              <p:ext uri="{D42A27DB-BD31-4B8C-83A1-F6EECF244321}">
                <p14:modId xmlns:p14="http://schemas.microsoft.com/office/powerpoint/2010/main" val="39171911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2" name="think-cell スライド" r:id="rId47" imgW="473" imgH="473" progId="TCLayout.ActiveDocument.1">
                  <p:embed/>
                </p:oleObj>
              </mc:Choice>
              <mc:Fallback>
                <p:oleObj name="think-cell スライド" r:id="rId47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プレースホルダー 1"/>
          <p:cNvSpPr>
            <a:spLocks noGrp="1"/>
          </p:cNvSpPr>
          <p:nvPr>
            <p:ph type="title"/>
          </p:nvPr>
        </p:nvSpPr>
        <p:spPr>
          <a:xfrm>
            <a:off x="681038" y="365126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ja-JP" altLang="en-US" dirty="0"/>
              <a:t>マスター タイトルの書式設定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4 </a:t>
            </a:r>
            <a:r>
              <a:rPr kumimoji="1" lang="ja-JP" altLang="en-US" dirty="0"/>
              <a:t>レベル</a:t>
            </a:r>
          </a:p>
          <a:p>
            <a:pPr lvl="4"/>
            <a:r>
              <a:rPr kumimoji="1" lang="ja-JP" altLang="en-US" dirty="0"/>
              <a:t>第 </a:t>
            </a:r>
            <a:r>
              <a:rPr kumimoji="1" lang="en-US" altLang="ja-JP" dirty="0"/>
              <a:t>5 </a:t>
            </a:r>
            <a:r>
              <a:rPr kumimoji="1" lang="ja-JP" altLang="en-US" dirty="0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2"/>
          </p:nvPr>
        </p:nvSpPr>
        <p:spPr>
          <a:xfrm>
            <a:off x="681038" y="6356351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75">
                <a:solidFill>
                  <a:schemeClr val="tx1">
                    <a:tint val="75000"/>
                  </a:schemeClr>
                </a:solidFill>
                <a:latin typeface="ＭＳ Ｐゴシック" panose="020B0600070205080204" pitchFamily="50" charset="-128"/>
              </a:defRPr>
            </a:lvl1pPr>
          </a:lstStyle>
          <a:p>
            <a:endParaRPr lang="en-US" dirty="0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3"/>
          </p:nvPr>
        </p:nvSpPr>
        <p:spPr>
          <a:xfrm>
            <a:off x="3281363" y="6356351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75">
                <a:solidFill>
                  <a:schemeClr val="tx1">
                    <a:tint val="75000"/>
                  </a:schemeClr>
                </a:solidFill>
                <a:latin typeface="ＭＳ Ｐゴシック" panose="020B0600070205080204" pitchFamily="50" charset="-128"/>
              </a:defRPr>
            </a:lvl1pPr>
          </a:lstStyle>
          <a:p>
            <a:endParaRPr lang="en-GB" dirty="0"/>
          </a:p>
        </p:txBody>
      </p:sp>
      <p:sp>
        <p:nvSpPr>
          <p:cNvPr id="7" name="スライド番号プレースホルダー 5"/>
          <p:cNvSpPr txBox="1">
            <a:spLocks/>
          </p:cNvSpPr>
          <p:nvPr userDrawn="1"/>
        </p:nvSpPr>
        <p:spPr>
          <a:xfrm>
            <a:off x="9538446" y="6463926"/>
            <a:ext cx="34991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r" defTabSz="914400" rtl="0" eaLnBrk="1" latinLnBrk="0" hangingPunct="1">
              <a:defRPr kumimoji="1" sz="975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06B2653-D1AD-46BA-BB88-3123B5BA212E}" type="slidenum">
              <a:rPr lang="en-US" smtClean="0">
                <a:latin typeface="ＭＳ Ｐゴシック" panose="020B0600070205080204" pitchFamily="50" charset="-128"/>
              </a:rPr>
              <a:pPr/>
              <a:t>‹#›</a:t>
            </a:fld>
            <a:endParaRPr lang="en-US" dirty="0">
              <a:latin typeface="ＭＳ Ｐゴシック" panose="020B060007020508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962596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  <p:sldLayoutId id="2147483698" r:id="rId6"/>
    <p:sldLayoutId id="2147483699" r:id="rId7"/>
    <p:sldLayoutId id="2147483700" r:id="rId8"/>
    <p:sldLayoutId id="2147483701" r:id="rId9"/>
    <p:sldLayoutId id="2147483702" r:id="rId10"/>
    <p:sldLayoutId id="2147483703" r:id="rId11"/>
    <p:sldLayoutId id="2147483704" r:id="rId12"/>
    <p:sldLayoutId id="2147483657" r:id="rId13"/>
    <p:sldLayoutId id="2147483656" r:id="rId14"/>
    <p:sldLayoutId id="2147483651" r:id="rId15"/>
    <p:sldLayoutId id="2147483659" r:id="rId16"/>
    <p:sldLayoutId id="2147483661" r:id="rId17"/>
    <p:sldLayoutId id="2147483662" r:id="rId18"/>
    <p:sldLayoutId id="2147483664" r:id="rId19"/>
    <p:sldLayoutId id="2147483665" r:id="rId20"/>
    <p:sldLayoutId id="2147483666" r:id="rId21"/>
    <p:sldLayoutId id="2147483680" r:id="rId22"/>
    <p:sldLayoutId id="2147483667" r:id="rId23"/>
    <p:sldLayoutId id="2147483668" r:id="rId24"/>
    <p:sldLayoutId id="2147483669" r:id="rId25"/>
    <p:sldLayoutId id="2147483684" r:id="rId26"/>
    <p:sldLayoutId id="2147483663" r:id="rId27"/>
    <p:sldLayoutId id="2147483707" r:id="rId28"/>
    <p:sldLayoutId id="2147483650" r:id="rId29"/>
    <p:sldLayoutId id="2147483671" r:id="rId30"/>
    <p:sldLayoutId id="2147483658" r:id="rId31"/>
    <p:sldLayoutId id="2147483677" r:id="rId32"/>
    <p:sldLayoutId id="2147483678" r:id="rId33"/>
    <p:sldLayoutId id="2147483673" r:id="rId34"/>
    <p:sldLayoutId id="2147483674" r:id="rId35"/>
    <p:sldLayoutId id="2147483670" r:id="rId36"/>
    <p:sldLayoutId id="2147483676" r:id="rId37"/>
    <p:sldLayoutId id="2147483681" r:id="rId38"/>
    <p:sldLayoutId id="2147483682" r:id="rId39"/>
    <p:sldLayoutId id="2147483675" r:id="rId40"/>
    <p:sldLayoutId id="2147483653" r:id="rId41"/>
    <p:sldLayoutId id="2147483672" r:id="rId42"/>
    <p:sldLayoutId id="2147483683" r:id="rId43"/>
  </p:sldLayoutIdLst>
  <p:hf hdr="0" ftr="0" dt="0"/>
  <p:txStyles>
    <p:titleStyle>
      <a:lvl1pPr algn="l" defTabSz="742950" rtl="0" eaLnBrk="1" latinLnBrk="0" hangingPunct="1">
        <a:lnSpc>
          <a:spcPct val="90000"/>
        </a:lnSpc>
        <a:spcBef>
          <a:spcPct val="0"/>
        </a:spcBef>
        <a:buNone/>
        <a:defRPr kumimoji="1" sz="3575" kern="1200">
          <a:solidFill>
            <a:schemeClr val="tx1"/>
          </a:solidFill>
          <a:latin typeface="ＭＳ Ｐゴシック" panose="020B0600070205080204" pitchFamily="50" charset="-128"/>
          <a:ea typeface="ＭＳ Ｐゴシック" panose="020B0600070205080204" pitchFamily="50" charset="-128"/>
          <a:cs typeface="+mj-cs"/>
        </a:defRPr>
      </a:lvl1pPr>
    </p:titleStyle>
    <p:bodyStyle>
      <a:lvl1pPr marL="185738" indent="-185738" algn="l" defTabSz="742950" rtl="0" eaLnBrk="1" latinLnBrk="0" hangingPunct="1">
        <a:lnSpc>
          <a:spcPct val="90000"/>
        </a:lnSpc>
        <a:spcBef>
          <a:spcPts val="813"/>
        </a:spcBef>
        <a:buFont typeface="Arial" panose="020B0604020202020204" pitchFamily="34" charset="0"/>
        <a:buChar char="•"/>
        <a:defRPr kumimoji="1" sz="2275" kern="1200">
          <a:solidFill>
            <a:schemeClr val="tx1"/>
          </a:solidFill>
          <a:latin typeface="ＭＳ Ｐゴシック" panose="020B0600070205080204" pitchFamily="50" charset="-128"/>
          <a:ea typeface="ＭＳ Ｐゴシック" panose="020B0600070205080204" pitchFamily="50" charset="-128"/>
          <a:cs typeface="+mn-cs"/>
        </a:defRPr>
      </a:lvl1pPr>
      <a:lvl2pPr marL="557213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kumimoji="1" sz="1950" kern="1200">
          <a:solidFill>
            <a:schemeClr val="tx1"/>
          </a:solidFill>
          <a:latin typeface="ＭＳ Ｐゴシック" panose="020B0600070205080204" pitchFamily="50" charset="-128"/>
          <a:ea typeface="ＭＳ Ｐゴシック" panose="020B0600070205080204" pitchFamily="50" charset="-128"/>
          <a:cs typeface="+mn-cs"/>
        </a:defRPr>
      </a:lvl2pPr>
      <a:lvl3pPr marL="928688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kumimoji="1" sz="1625" kern="1200">
          <a:solidFill>
            <a:schemeClr val="tx1"/>
          </a:solidFill>
          <a:latin typeface="ＭＳ Ｐゴシック" panose="020B0600070205080204" pitchFamily="50" charset="-128"/>
          <a:ea typeface="ＭＳ Ｐゴシック" panose="020B0600070205080204" pitchFamily="50" charset="-128"/>
          <a:cs typeface="+mn-cs"/>
        </a:defRPr>
      </a:lvl3pPr>
      <a:lvl4pPr marL="1300163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kumimoji="1" sz="1463" kern="1200">
          <a:solidFill>
            <a:schemeClr val="tx1"/>
          </a:solidFill>
          <a:latin typeface="ＭＳ Ｐゴシック" panose="020B0600070205080204" pitchFamily="50" charset="-128"/>
          <a:ea typeface="ＭＳ Ｐゴシック" panose="020B0600070205080204" pitchFamily="50" charset="-128"/>
          <a:cs typeface="+mn-cs"/>
        </a:defRPr>
      </a:lvl4pPr>
      <a:lvl5pPr marL="1671638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kumimoji="1" sz="1463" kern="1200">
          <a:solidFill>
            <a:schemeClr val="tx1"/>
          </a:solidFill>
          <a:latin typeface="ＭＳ Ｐゴシック" panose="020B0600070205080204" pitchFamily="50" charset="-128"/>
          <a:ea typeface="ＭＳ Ｐゴシック" panose="020B0600070205080204" pitchFamily="50" charset="-128"/>
          <a:cs typeface="+mn-cs"/>
        </a:defRPr>
      </a:lvl5pPr>
      <a:lvl6pPr marL="2043113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414588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786063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3157538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1pPr>
      <a:lvl2pPr marL="371475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2pPr>
      <a:lvl3pPr marL="742950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3pPr>
      <a:lvl4pPr marL="1114425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485900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1857375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600325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2971800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8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6157" name="think-cell スライド" r:id="rId5" imgW="473" imgH="473" progId="TCLayout.ActiveDocument.1">
                  <p:embed/>
                </p:oleObj>
              </mc:Choice>
              <mc:Fallback>
                <p:oleObj name="think-cell スライド" r:id="rId5" imgW="473" imgH="473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タイトル 3"/>
          <p:cNvSpPr>
            <a:spLocks noGrp="1"/>
          </p:cNvSpPr>
          <p:nvPr>
            <p:ph type="title"/>
          </p:nvPr>
        </p:nvSpPr>
        <p:spPr>
          <a:xfrm>
            <a:off x="336805" y="259495"/>
            <a:ext cx="9186273" cy="465011"/>
          </a:xfrm>
        </p:spPr>
        <p:txBody>
          <a:bodyPr lIns="36000" tIns="36000" rIns="36000" bIns="36000" anchor="ctr">
            <a:noAutofit/>
          </a:bodyPr>
          <a:lstStyle/>
          <a:p>
            <a:r>
              <a:rPr lang="en-US" altLang="ja-JP" sz="1800" dirty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1-4.</a:t>
            </a:r>
            <a:r>
              <a:rPr lang="ja-JP" altLang="en-US" sz="1800" dirty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（演習）自社における職場の問題の発生状況</a:t>
            </a:r>
            <a:endParaRPr kumimoji="1" lang="ja-JP" altLang="en-US" sz="1800" dirty="0"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5" name="タイトル 3"/>
          <p:cNvSpPr txBox="1">
            <a:spLocks/>
          </p:cNvSpPr>
          <p:nvPr/>
        </p:nvSpPr>
        <p:spPr>
          <a:xfrm>
            <a:off x="336805" y="963830"/>
            <a:ext cx="9186273" cy="465011"/>
          </a:xfrm>
          <a:prstGeom prst="rect">
            <a:avLst/>
          </a:prstGeom>
        </p:spPr>
        <p:txBody>
          <a:bodyPr vert="horz" wrap="square" lIns="36000" tIns="36000" rIns="36000" bIns="36000" rtlCol="0" anchor="t" anchorCtr="0">
            <a:noAutofit/>
          </a:bodyPr>
          <a:lstStyle>
            <a:lvl1pPr algn="l" defTabSz="74295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lang="en-US" sz="320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ja-JP" altLang="en-US" sz="1600" dirty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職場のトラブルについて、過去</a:t>
            </a:r>
            <a:r>
              <a:rPr lang="en-US" altLang="ja-JP" sz="1600" dirty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3</a:t>
            </a:r>
            <a:r>
              <a:rPr lang="ja-JP" altLang="en-US" sz="1600" dirty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年間での発生の状況で該当するものを</a:t>
            </a:r>
            <a:r>
              <a:rPr lang="en-US" altLang="ja-JP" sz="1600" dirty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1</a:t>
            </a:r>
            <a:r>
              <a:rPr lang="ja-JP" altLang="en-US" sz="1600" dirty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つチェックしてください。</a:t>
            </a:r>
            <a:endParaRPr lang="en-US" altLang="ja-JP" sz="1600" dirty="0"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23" name="正方形/長方形 22"/>
          <p:cNvSpPr/>
          <p:nvPr/>
        </p:nvSpPr>
        <p:spPr>
          <a:xfrm>
            <a:off x="1530982" y="1828799"/>
            <a:ext cx="4968000" cy="4320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ja-JP" altLang="en-US" sz="1400" dirty="0">
                <a:solidFill>
                  <a:schemeClr val="bg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職場の問題</a:t>
            </a:r>
            <a:endParaRPr kumimoji="1" lang="ja-JP" altLang="en-US" sz="1400" dirty="0">
              <a:solidFill>
                <a:schemeClr val="bg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24" name="正方形/長方形 23"/>
          <p:cNvSpPr/>
          <p:nvPr/>
        </p:nvSpPr>
        <p:spPr>
          <a:xfrm>
            <a:off x="1530982" y="2307825"/>
            <a:ext cx="4968000" cy="7200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72000" indent="-72000">
              <a:buFont typeface="Arial" panose="020B0604020202020204" pitchFamily="34" charset="0"/>
              <a:buChar char="•"/>
            </a:pPr>
            <a:r>
              <a:rPr lang="ja-JP" altLang="en-US" sz="14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施設や設備の事故、市街発生時の対応に関するトラブル</a:t>
            </a:r>
            <a:r>
              <a:rPr lang="en-US" altLang="ja-JP" sz="14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/>
            </a:r>
            <a:br>
              <a:rPr lang="en-US" altLang="ja-JP" sz="14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</a:br>
            <a:r>
              <a:rPr lang="en-US" altLang="ja-JP" sz="14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(</a:t>
            </a:r>
            <a:r>
              <a:rPr lang="ja-JP" altLang="en-US" sz="14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従業員の安否確認や出社要否の連絡の遅れ、二次災害の発生等</a:t>
            </a:r>
            <a:r>
              <a:rPr lang="en-US" altLang="ja-JP" sz="14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)</a:t>
            </a:r>
          </a:p>
        </p:txBody>
      </p:sp>
      <p:sp>
        <p:nvSpPr>
          <p:cNvPr id="25" name="正方形/長方形 24"/>
          <p:cNvSpPr/>
          <p:nvPr/>
        </p:nvSpPr>
        <p:spPr>
          <a:xfrm>
            <a:off x="1530982" y="3074851"/>
            <a:ext cx="4968000" cy="9000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72000" indent="-72000">
              <a:buFont typeface="Arial" panose="020B0604020202020204" pitchFamily="34" charset="0"/>
              <a:buChar char="•"/>
            </a:pPr>
            <a:r>
              <a:rPr lang="ja-JP" altLang="en-US" sz="14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業務遂行におけるトラブル</a:t>
            </a:r>
            <a:r>
              <a:rPr lang="en-US" altLang="ja-JP" sz="14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/>
            </a:r>
            <a:br>
              <a:rPr lang="en-US" altLang="ja-JP" sz="14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</a:br>
            <a:r>
              <a:rPr lang="en-US" altLang="ja-JP" sz="14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(</a:t>
            </a:r>
            <a:r>
              <a:rPr lang="ja-JP" altLang="en-US" sz="14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人的なミス、顧客対応に起因するトラブルの発生等</a:t>
            </a:r>
            <a:r>
              <a:rPr lang="en-US" altLang="ja-JP" sz="14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)</a:t>
            </a:r>
          </a:p>
          <a:p>
            <a:pPr marL="72000" indent="-72000">
              <a:buFont typeface="Arial" panose="020B0604020202020204" pitchFamily="34" charset="0"/>
              <a:buChar char="•"/>
            </a:pPr>
            <a:r>
              <a:rPr lang="ja-JP" altLang="en-US" sz="14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情報管理に関するトラブル</a:t>
            </a:r>
            <a:r>
              <a:rPr lang="en-US" altLang="ja-JP" sz="14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/>
            </a:r>
            <a:br>
              <a:rPr lang="en-US" altLang="ja-JP" sz="14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</a:br>
            <a:r>
              <a:rPr lang="ja-JP" altLang="en-US" sz="14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（個人情報・業務情報の扱い、</a:t>
            </a:r>
            <a:r>
              <a:rPr lang="en-US" altLang="ja-JP" sz="14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SNS</a:t>
            </a:r>
            <a:r>
              <a:rPr lang="ja-JP" altLang="en-US" sz="14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等に起因するトラブル等）</a:t>
            </a:r>
            <a:endParaRPr lang="en-US" altLang="ja-JP" sz="14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26" name="正方形/長方形 25"/>
          <p:cNvSpPr/>
          <p:nvPr/>
        </p:nvSpPr>
        <p:spPr>
          <a:xfrm>
            <a:off x="1530982" y="4021877"/>
            <a:ext cx="4968000" cy="5400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72000" indent="-72000">
              <a:buFont typeface="Arial" panose="020B0604020202020204" pitchFamily="34" charset="0"/>
              <a:buChar char="•"/>
            </a:pPr>
            <a:r>
              <a:rPr lang="ja-JP" altLang="en-US" sz="14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従業員の不正・不法行為に</a:t>
            </a:r>
            <a:r>
              <a:rPr lang="ja-JP" altLang="en-US" sz="140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関するトラブル</a:t>
            </a:r>
            <a:r>
              <a:rPr lang="en-US" altLang="ja-JP" sz="14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/>
            </a:r>
            <a:br>
              <a:rPr lang="en-US" altLang="ja-JP" sz="14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</a:br>
            <a:r>
              <a:rPr lang="ja-JP" altLang="en-US" sz="14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（反社会的勢力との取引、贈収賄などを含む不正行為）</a:t>
            </a:r>
            <a:endParaRPr lang="en-US" altLang="ja-JP" sz="14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28" name="正方形/長方形 27"/>
          <p:cNvSpPr/>
          <p:nvPr/>
        </p:nvSpPr>
        <p:spPr>
          <a:xfrm>
            <a:off x="1530982" y="4608901"/>
            <a:ext cx="4968000" cy="119227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72000" indent="-72000">
              <a:buFont typeface="Arial" panose="020B0604020202020204" pitchFamily="34" charset="0"/>
              <a:buChar char="•"/>
            </a:pPr>
            <a:r>
              <a:rPr lang="ja-JP" altLang="en-US" sz="14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労働時間管理に関するトラブル</a:t>
            </a:r>
          </a:p>
          <a:p>
            <a:pPr marL="72000" indent="-72000">
              <a:buFont typeface="Arial" panose="020B0604020202020204" pitchFamily="34" charset="0"/>
              <a:buChar char="•"/>
            </a:pPr>
            <a:r>
              <a:rPr lang="ja-JP" altLang="en-US" sz="14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休暇・休業制度などの労働関連法規に関するトラブル</a:t>
            </a:r>
          </a:p>
          <a:p>
            <a:pPr marL="72000" indent="-72000">
              <a:buFont typeface="Arial" panose="020B0604020202020204" pitchFamily="34" charset="0"/>
              <a:buChar char="•"/>
            </a:pPr>
            <a:r>
              <a:rPr lang="ja-JP" altLang="en-US" sz="14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セクハラ・パワハラなど職場コミュニケーションに関するトラブル</a:t>
            </a:r>
          </a:p>
          <a:p>
            <a:pPr marL="72000" indent="-72000">
              <a:buFont typeface="Arial" panose="020B0604020202020204" pitchFamily="34" charset="0"/>
              <a:buChar char="•"/>
            </a:pPr>
            <a:r>
              <a:rPr lang="ja-JP" altLang="en-US" sz="14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職場における差別に関するトラブル</a:t>
            </a:r>
          </a:p>
          <a:p>
            <a:pPr marL="72000" indent="-72000">
              <a:buFont typeface="Arial" panose="020B0604020202020204" pitchFamily="34" charset="0"/>
              <a:buChar char="•"/>
            </a:pPr>
            <a:r>
              <a:rPr lang="ja-JP" altLang="en-US" sz="14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労働安全衛生や従業員の心身の健康管理に関するトラブル</a:t>
            </a:r>
          </a:p>
        </p:txBody>
      </p:sp>
      <p:sp>
        <p:nvSpPr>
          <p:cNvPr id="14" name="正方形/長方形 13"/>
          <p:cNvSpPr/>
          <p:nvPr/>
        </p:nvSpPr>
        <p:spPr>
          <a:xfrm>
            <a:off x="105540" y="2307825"/>
            <a:ext cx="1368000" cy="7200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ja-JP" altLang="en-US" sz="14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自然災害リスク</a:t>
            </a:r>
            <a:endParaRPr kumimoji="1" lang="ja-JP" altLang="en-US" sz="14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15" name="正方形/長方形 14"/>
          <p:cNvSpPr/>
          <p:nvPr/>
        </p:nvSpPr>
        <p:spPr>
          <a:xfrm>
            <a:off x="105540" y="3074851"/>
            <a:ext cx="1368000" cy="9000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ja-JP" altLang="en-US" sz="14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オペレーショナル</a:t>
            </a:r>
            <a:endParaRPr lang="en-US" altLang="ja-JP" sz="14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  <a:p>
            <a:pPr algn="ctr"/>
            <a:r>
              <a:rPr lang="ja-JP" altLang="en-US" sz="14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リスク</a:t>
            </a:r>
            <a:endParaRPr kumimoji="1" lang="ja-JP" altLang="en-US" sz="14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16" name="正方形/長方形 15"/>
          <p:cNvSpPr/>
          <p:nvPr/>
        </p:nvSpPr>
        <p:spPr>
          <a:xfrm>
            <a:off x="105540" y="4021877"/>
            <a:ext cx="1368000" cy="5400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ja-JP" altLang="en-US" sz="14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コンプライアンス</a:t>
            </a:r>
            <a:endParaRPr lang="en-US" altLang="ja-JP" sz="14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  <a:p>
            <a:pPr algn="ctr"/>
            <a:r>
              <a:rPr kumimoji="1" lang="ja-JP" altLang="en-US" sz="14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リスク</a:t>
            </a:r>
          </a:p>
        </p:txBody>
      </p:sp>
      <p:sp>
        <p:nvSpPr>
          <p:cNvPr id="18" name="正方形/長方形 17"/>
          <p:cNvSpPr/>
          <p:nvPr/>
        </p:nvSpPr>
        <p:spPr>
          <a:xfrm>
            <a:off x="105540" y="4608901"/>
            <a:ext cx="1368000" cy="119227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ja-JP" altLang="en-US" sz="14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人事・労務リスク</a:t>
            </a:r>
            <a:endParaRPr kumimoji="1" lang="ja-JP" altLang="en-US" sz="14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19" name="正方形/長方形 18"/>
          <p:cNvSpPr/>
          <p:nvPr/>
        </p:nvSpPr>
        <p:spPr>
          <a:xfrm>
            <a:off x="105540" y="1828799"/>
            <a:ext cx="1368000" cy="4320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ja-JP" altLang="en-US" sz="1400" dirty="0">
                <a:solidFill>
                  <a:schemeClr val="bg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分類</a:t>
            </a:r>
            <a:endParaRPr kumimoji="1" lang="ja-JP" altLang="en-US" sz="1400" dirty="0">
              <a:solidFill>
                <a:schemeClr val="bg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21" name="正方形/長方形 20"/>
          <p:cNvSpPr/>
          <p:nvPr/>
        </p:nvSpPr>
        <p:spPr>
          <a:xfrm>
            <a:off x="6556424" y="2307825"/>
            <a:ext cx="720000" cy="7200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endParaRPr kumimoji="1" lang="ja-JP" altLang="en-US" sz="14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22" name="正方形/長方形 21"/>
          <p:cNvSpPr/>
          <p:nvPr/>
        </p:nvSpPr>
        <p:spPr>
          <a:xfrm>
            <a:off x="6556424" y="3074851"/>
            <a:ext cx="720000" cy="9000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endParaRPr kumimoji="1" lang="ja-JP" altLang="en-US" sz="14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31" name="正方形/長方形 30"/>
          <p:cNvSpPr/>
          <p:nvPr/>
        </p:nvSpPr>
        <p:spPr>
          <a:xfrm>
            <a:off x="6556424" y="4021877"/>
            <a:ext cx="720000" cy="5400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endParaRPr kumimoji="1" lang="ja-JP" altLang="en-US" sz="14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33" name="正方形/長方形 32"/>
          <p:cNvSpPr/>
          <p:nvPr/>
        </p:nvSpPr>
        <p:spPr>
          <a:xfrm>
            <a:off x="6556424" y="4608901"/>
            <a:ext cx="720000" cy="119227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endParaRPr kumimoji="1" lang="ja-JP" altLang="en-US" sz="14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34" name="正方形/長方形 33"/>
          <p:cNvSpPr/>
          <p:nvPr/>
        </p:nvSpPr>
        <p:spPr>
          <a:xfrm>
            <a:off x="6556424" y="1828799"/>
            <a:ext cx="720000" cy="43200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ja-JP" altLang="en-US" sz="1400" dirty="0">
                <a:solidFill>
                  <a:schemeClr val="bg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頻繁に</a:t>
            </a:r>
            <a:endParaRPr lang="en-US" altLang="ja-JP" sz="1400" dirty="0">
              <a:solidFill>
                <a:schemeClr val="bg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  <a:p>
            <a:pPr algn="ctr"/>
            <a:r>
              <a:rPr lang="ja-JP" altLang="en-US" sz="1400" dirty="0">
                <a:solidFill>
                  <a:schemeClr val="bg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あった</a:t>
            </a:r>
            <a:endParaRPr kumimoji="1" lang="ja-JP" altLang="en-US" sz="1400" dirty="0">
              <a:solidFill>
                <a:schemeClr val="bg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36" name="正方形/長方形 35"/>
          <p:cNvSpPr/>
          <p:nvPr/>
        </p:nvSpPr>
        <p:spPr>
          <a:xfrm>
            <a:off x="7333866" y="2307825"/>
            <a:ext cx="720000" cy="7200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endParaRPr kumimoji="1" lang="ja-JP" altLang="en-US" sz="14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37" name="正方形/長方形 36"/>
          <p:cNvSpPr/>
          <p:nvPr/>
        </p:nvSpPr>
        <p:spPr>
          <a:xfrm>
            <a:off x="7333866" y="3074851"/>
            <a:ext cx="720000" cy="9000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endParaRPr kumimoji="1" lang="ja-JP" altLang="en-US" sz="14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38" name="正方形/長方形 37"/>
          <p:cNvSpPr/>
          <p:nvPr/>
        </p:nvSpPr>
        <p:spPr>
          <a:xfrm>
            <a:off x="7333866" y="4021877"/>
            <a:ext cx="720000" cy="5400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endParaRPr kumimoji="1" lang="ja-JP" altLang="en-US" sz="14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40" name="正方形/長方形 39"/>
          <p:cNvSpPr/>
          <p:nvPr/>
        </p:nvSpPr>
        <p:spPr>
          <a:xfrm>
            <a:off x="7333866" y="4608901"/>
            <a:ext cx="720000" cy="119227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endParaRPr kumimoji="1" lang="ja-JP" altLang="en-US" sz="14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41" name="正方形/長方形 40"/>
          <p:cNvSpPr/>
          <p:nvPr/>
        </p:nvSpPr>
        <p:spPr>
          <a:xfrm>
            <a:off x="7333866" y="1828799"/>
            <a:ext cx="720000" cy="43200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ja-JP" altLang="en-US" sz="1400" dirty="0">
                <a:solidFill>
                  <a:schemeClr val="bg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しばしば</a:t>
            </a:r>
            <a:endParaRPr lang="en-US" altLang="ja-JP" sz="1400" dirty="0">
              <a:solidFill>
                <a:schemeClr val="bg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  <a:p>
            <a:pPr algn="ctr"/>
            <a:r>
              <a:rPr lang="ja-JP" altLang="en-US" sz="1400" dirty="0">
                <a:solidFill>
                  <a:schemeClr val="bg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あった</a:t>
            </a:r>
            <a:endParaRPr kumimoji="1" lang="ja-JP" altLang="en-US" sz="1400" dirty="0">
              <a:solidFill>
                <a:schemeClr val="bg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43" name="正方形/長方形 42"/>
          <p:cNvSpPr/>
          <p:nvPr/>
        </p:nvSpPr>
        <p:spPr>
          <a:xfrm>
            <a:off x="8111308" y="2307825"/>
            <a:ext cx="720000" cy="7200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endParaRPr kumimoji="1" lang="ja-JP" altLang="en-US" sz="14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44" name="正方形/長方形 43"/>
          <p:cNvSpPr/>
          <p:nvPr/>
        </p:nvSpPr>
        <p:spPr>
          <a:xfrm>
            <a:off x="8111308" y="3074851"/>
            <a:ext cx="720000" cy="9000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endParaRPr kumimoji="1" lang="ja-JP" altLang="en-US" sz="14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45" name="正方形/長方形 44"/>
          <p:cNvSpPr/>
          <p:nvPr/>
        </p:nvSpPr>
        <p:spPr>
          <a:xfrm>
            <a:off x="8111308" y="4021877"/>
            <a:ext cx="720000" cy="5400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endParaRPr kumimoji="1" lang="ja-JP" altLang="en-US" sz="14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47" name="正方形/長方形 46"/>
          <p:cNvSpPr/>
          <p:nvPr/>
        </p:nvSpPr>
        <p:spPr>
          <a:xfrm>
            <a:off x="8111308" y="4608901"/>
            <a:ext cx="720000" cy="119227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endParaRPr kumimoji="1" lang="ja-JP" altLang="en-US" sz="14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48" name="正方形/長方形 47"/>
          <p:cNvSpPr/>
          <p:nvPr/>
        </p:nvSpPr>
        <p:spPr>
          <a:xfrm>
            <a:off x="8111308" y="1828799"/>
            <a:ext cx="720000" cy="43200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ja-JP" altLang="en-US" sz="1400" dirty="0">
                <a:solidFill>
                  <a:schemeClr val="bg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たまにあった</a:t>
            </a:r>
            <a:endParaRPr kumimoji="1" lang="ja-JP" altLang="en-US" sz="1400" dirty="0">
              <a:solidFill>
                <a:schemeClr val="bg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50" name="正方形/長方形 49"/>
          <p:cNvSpPr/>
          <p:nvPr/>
        </p:nvSpPr>
        <p:spPr>
          <a:xfrm>
            <a:off x="8888752" y="2307825"/>
            <a:ext cx="720000" cy="7200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endParaRPr kumimoji="1" lang="ja-JP" altLang="en-US" sz="14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51" name="正方形/長方形 50"/>
          <p:cNvSpPr/>
          <p:nvPr/>
        </p:nvSpPr>
        <p:spPr>
          <a:xfrm>
            <a:off x="8888752" y="3074851"/>
            <a:ext cx="720000" cy="9000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endParaRPr kumimoji="1" lang="ja-JP" altLang="en-US" sz="14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52" name="正方形/長方形 51"/>
          <p:cNvSpPr/>
          <p:nvPr/>
        </p:nvSpPr>
        <p:spPr>
          <a:xfrm>
            <a:off x="8888752" y="4021877"/>
            <a:ext cx="720000" cy="5400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endParaRPr kumimoji="1" lang="ja-JP" altLang="en-US" sz="14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54" name="正方形/長方形 53"/>
          <p:cNvSpPr/>
          <p:nvPr/>
        </p:nvSpPr>
        <p:spPr>
          <a:xfrm>
            <a:off x="8888752" y="4608901"/>
            <a:ext cx="720000" cy="119227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endParaRPr kumimoji="1" lang="ja-JP" altLang="en-US" sz="14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55" name="正方形/長方形 54"/>
          <p:cNvSpPr/>
          <p:nvPr/>
        </p:nvSpPr>
        <p:spPr>
          <a:xfrm>
            <a:off x="8888752" y="1828799"/>
            <a:ext cx="720000" cy="43200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ja-JP" altLang="en-US" sz="1400" dirty="0">
                <a:solidFill>
                  <a:schemeClr val="bg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問題はなかった</a:t>
            </a:r>
            <a:endParaRPr kumimoji="1" lang="ja-JP" altLang="en-US" sz="1400" dirty="0">
              <a:solidFill>
                <a:schemeClr val="bg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8524938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1824" name="think-cell スライド" r:id="rId5" imgW="473" imgH="473" progId="TCLayout.ActiveDocument.1">
                  <p:embed/>
                </p:oleObj>
              </mc:Choice>
              <mc:Fallback>
                <p:oleObj name="think-cell スライド" r:id="rId5" imgW="473" imgH="473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タイトル 3"/>
          <p:cNvSpPr>
            <a:spLocks noGrp="1"/>
          </p:cNvSpPr>
          <p:nvPr>
            <p:ph type="title"/>
          </p:nvPr>
        </p:nvSpPr>
        <p:spPr>
          <a:xfrm>
            <a:off x="336805" y="259495"/>
            <a:ext cx="9186273" cy="465011"/>
          </a:xfrm>
        </p:spPr>
        <p:txBody>
          <a:bodyPr lIns="36000" tIns="36000" rIns="36000" bIns="36000" anchor="ctr">
            <a:noAutofit/>
          </a:bodyPr>
          <a:lstStyle/>
          <a:p>
            <a:r>
              <a:rPr lang="en-US" altLang="ja-JP" sz="1800" dirty="0"/>
              <a:t>【</a:t>
            </a:r>
            <a:r>
              <a:rPr lang="ja-JP" altLang="en-US" sz="1800" dirty="0"/>
              <a:t>演習</a:t>
            </a:r>
            <a:r>
              <a:rPr lang="en-US" altLang="ja-JP" sz="1800" dirty="0"/>
              <a:t>b】</a:t>
            </a:r>
            <a:r>
              <a:rPr lang="ja-JP" altLang="en-US" sz="1800" dirty="0"/>
              <a:t>　</a:t>
            </a:r>
            <a:r>
              <a:rPr lang="en-US" altLang="ja-JP" sz="1800" dirty="0"/>
              <a:t>(2)</a:t>
            </a:r>
            <a:r>
              <a:rPr lang="ja-JP" altLang="en-US" sz="1800" dirty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リスクの洗い出し</a:t>
            </a:r>
            <a:endParaRPr kumimoji="1" lang="ja-JP" altLang="en-US" sz="1800" dirty="0"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5" name="タイトル 3"/>
          <p:cNvSpPr txBox="1">
            <a:spLocks/>
          </p:cNvSpPr>
          <p:nvPr/>
        </p:nvSpPr>
        <p:spPr>
          <a:xfrm>
            <a:off x="336805" y="963830"/>
            <a:ext cx="9186273" cy="465011"/>
          </a:xfrm>
          <a:prstGeom prst="rect">
            <a:avLst/>
          </a:prstGeom>
        </p:spPr>
        <p:txBody>
          <a:bodyPr vert="horz" wrap="square" lIns="36000" tIns="36000" rIns="36000" bIns="36000" rtlCol="0" anchor="t" anchorCtr="0">
            <a:noAutofit/>
          </a:bodyPr>
          <a:lstStyle>
            <a:lvl1pPr algn="l" defTabSz="74295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lang="en-US" sz="320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ja-JP" altLang="en-US" sz="1600" dirty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①ご自身および部下が担当している業務を記載してください。</a:t>
            </a:r>
            <a:endParaRPr lang="en-US" altLang="ja-JP" sz="1600" dirty="0"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  <a:p>
            <a:r>
              <a:rPr lang="ja-JP" altLang="en-US" sz="1600" dirty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②記載された業務ごとにリスクの洗い出しをしてください。</a:t>
            </a:r>
            <a:endParaRPr lang="en-US" altLang="ja-JP" sz="1600" dirty="0"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graphicFrame>
        <p:nvGraphicFramePr>
          <p:cNvPr id="11" name="表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77242625"/>
              </p:ext>
            </p:extLst>
          </p:nvPr>
        </p:nvGraphicFramePr>
        <p:xfrm>
          <a:off x="177941" y="1909336"/>
          <a:ext cx="9432001" cy="4654833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60260">
                  <a:extLst>
                    <a:ext uri="{9D8B030D-6E8A-4147-A177-3AD203B41FA5}">
                      <a16:colId xmlns:a16="http://schemas.microsoft.com/office/drawing/2014/main" val="3490204246"/>
                    </a:ext>
                  </a:extLst>
                </a:gridCol>
                <a:gridCol w="1801301">
                  <a:extLst>
                    <a:ext uri="{9D8B030D-6E8A-4147-A177-3AD203B41FA5}">
                      <a16:colId xmlns:a16="http://schemas.microsoft.com/office/drawing/2014/main" val="2242755418"/>
                    </a:ext>
                  </a:extLst>
                </a:gridCol>
                <a:gridCol w="1817610">
                  <a:extLst>
                    <a:ext uri="{9D8B030D-6E8A-4147-A177-3AD203B41FA5}">
                      <a16:colId xmlns:a16="http://schemas.microsoft.com/office/drawing/2014/main" val="3801705187"/>
                    </a:ext>
                  </a:extLst>
                </a:gridCol>
                <a:gridCol w="1817610">
                  <a:extLst>
                    <a:ext uri="{9D8B030D-6E8A-4147-A177-3AD203B41FA5}">
                      <a16:colId xmlns:a16="http://schemas.microsoft.com/office/drawing/2014/main" val="805803041"/>
                    </a:ext>
                  </a:extLst>
                </a:gridCol>
                <a:gridCol w="1817610">
                  <a:extLst>
                    <a:ext uri="{9D8B030D-6E8A-4147-A177-3AD203B41FA5}">
                      <a16:colId xmlns:a16="http://schemas.microsoft.com/office/drawing/2014/main" val="3425674485"/>
                    </a:ext>
                  </a:extLst>
                </a:gridCol>
                <a:gridCol w="1817610">
                  <a:extLst>
                    <a:ext uri="{9D8B030D-6E8A-4147-A177-3AD203B41FA5}">
                      <a16:colId xmlns:a16="http://schemas.microsoft.com/office/drawing/2014/main" val="3661491910"/>
                    </a:ext>
                  </a:extLst>
                </a:gridCol>
              </a:tblGrid>
              <a:tr h="362193"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2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#</a:t>
                      </a:r>
                      <a:endParaRPr kumimoji="1" lang="ja-JP" altLang="en-US" sz="12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000" marR="36000" marT="36000" marB="3600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業務</a:t>
                      </a:r>
                    </a:p>
                  </a:txBody>
                  <a:tcPr marL="36000" marR="36000" marT="36000" marB="3600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人事労務リスク</a:t>
                      </a:r>
                      <a:r>
                        <a:rPr kumimoji="1" lang="en-US" altLang="ja-JP" sz="12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(A)</a:t>
                      </a:r>
                      <a:endParaRPr kumimoji="1" lang="ja-JP" altLang="en-US" sz="12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000" marR="36000" marT="36000" marB="3600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コンプライアンスリスク</a:t>
                      </a:r>
                      <a:r>
                        <a:rPr kumimoji="1" lang="en-US" altLang="ja-JP" sz="12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(B)</a:t>
                      </a:r>
                      <a:endParaRPr kumimoji="1" lang="ja-JP" altLang="en-US" sz="12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000" marR="36000" marT="36000" marB="3600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自然災害リスク</a:t>
                      </a:r>
                      <a:r>
                        <a:rPr kumimoji="1" lang="en-US" altLang="ja-JP" sz="12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(C)</a:t>
                      </a:r>
                      <a:endParaRPr kumimoji="1" lang="ja-JP" altLang="en-US" sz="12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000" marR="36000" marT="36000" marB="3600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オペレーショナルリスク</a:t>
                      </a:r>
                      <a:r>
                        <a:rPr kumimoji="1" lang="en-US" altLang="ja-JP" sz="12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(D)</a:t>
                      </a:r>
                    </a:p>
                  </a:txBody>
                  <a:tcPr marL="36000" marR="36000" marT="36000" marB="3600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3941008"/>
                  </a:ext>
                </a:extLst>
              </a:tr>
              <a:tr h="612000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 dirty="0">
                          <a:solidFill>
                            <a:srgbClr val="FF0000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例</a:t>
                      </a:r>
                      <a:endParaRPr kumimoji="1" lang="en-US" altLang="ja-JP" sz="1200" dirty="0">
                        <a:solidFill>
                          <a:srgbClr val="FF0000"/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kumimoji="1" lang="ja-JP" altLang="en-US" sz="1200" dirty="0">
                          <a:solidFill>
                            <a:srgbClr val="FF0000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顧客往訪</a:t>
                      </a:r>
                      <a:endParaRPr kumimoji="1" lang="en-US" altLang="ja-JP" sz="1200" dirty="0">
                        <a:solidFill>
                          <a:srgbClr val="FF0000"/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kumimoji="1" lang="ja-JP" altLang="en-US" sz="1200" dirty="0">
                          <a:solidFill>
                            <a:srgbClr val="FF0000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往訪時の交通事故</a:t>
                      </a:r>
                      <a:endParaRPr kumimoji="1" lang="en-US" altLang="ja-JP" sz="1200" dirty="0">
                        <a:solidFill>
                          <a:srgbClr val="FF0000"/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  <a:p>
                      <a:pPr algn="l"/>
                      <a:r>
                        <a:rPr kumimoji="1" lang="ja-JP" altLang="en-US" sz="1200" dirty="0">
                          <a:solidFill>
                            <a:srgbClr val="FF0000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直行直帰時の労働時間管理</a:t>
                      </a:r>
                      <a:endParaRPr kumimoji="1" lang="en-US" altLang="ja-JP" sz="1200" dirty="0">
                        <a:solidFill>
                          <a:srgbClr val="FF0000"/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kumimoji="1" lang="ja-JP" altLang="en-US" sz="1200" dirty="0">
                          <a:solidFill>
                            <a:srgbClr val="FF0000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贈収賄などの不正行為</a:t>
                      </a: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kumimoji="1" lang="ja-JP" altLang="en-US" sz="1200" dirty="0">
                          <a:solidFill>
                            <a:srgbClr val="FF0000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外訪時に被災した際の安否確認</a:t>
                      </a: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kumimoji="1" lang="ja-JP" altLang="en-US" sz="1200" dirty="0">
                          <a:solidFill>
                            <a:srgbClr val="FF0000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顧客の機密情報漏洩</a:t>
                      </a:r>
                    </a:p>
                  </a:txBody>
                  <a:tcPr marL="36000" marR="36000" marT="36000" marB="36000" anchor="ctr"/>
                </a:tc>
                <a:extLst>
                  <a:ext uri="{0D108BD9-81ED-4DB2-BD59-A6C34878D82A}">
                    <a16:rowId xmlns:a16="http://schemas.microsoft.com/office/drawing/2014/main" val="1160676497"/>
                  </a:ext>
                </a:extLst>
              </a:tr>
              <a:tr h="612000"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2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1</a:t>
                      </a: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l"/>
                      <a:endParaRPr kumimoji="1" lang="ja-JP" altLang="en-US" sz="12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l"/>
                      <a:endParaRPr kumimoji="1" lang="ja-JP" altLang="en-US" sz="12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l"/>
                      <a:endParaRPr kumimoji="1" lang="ja-JP" altLang="en-US" sz="12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l"/>
                      <a:endParaRPr kumimoji="1" lang="ja-JP" altLang="en-US" sz="12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l"/>
                      <a:endParaRPr kumimoji="1" lang="ja-JP" altLang="en-US" sz="120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000" marR="36000" marT="36000" marB="36000" anchor="ctr"/>
                </a:tc>
                <a:extLst>
                  <a:ext uri="{0D108BD9-81ED-4DB2-BD59-A6C34878D82A}">
                    <a16:rowId xmlns:a16="http://schemas.microsoft.com/office/drawing/2014/main" val="2787000434"/>
                  </a:ext>
                </a:extLst>
              </a:tr>
              <a:tr h="612000"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2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2</a:t>
                      </a:r>
                      <a:endParaRPr kumimoji="1" lang="ja-JP" altLang="en-US" sz="12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l"/>
                      <a:endParaRPr kumimoji="1" lang="en-US" altLang="ja-JP" sz="12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l"/>
                      <a:endParaRPr kumimoji="1" lang="ja-JP" altLang="en-US" sz="12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l"/>
                      <a:endParaRPr kumimoji="1" lang="ja-JP" altLang="en-US" sz="12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l"/>
                      <a:endParaRPr kumimoji="1" lang="ja-JP" altLang="en-US" sz="12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l"/>
                      <a:endParaRPr kumimoji="1" lang="ja-JP" altLang="en-US" sz="12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000" marR="36000" marT="36000" marB="36000" anchor="ctr"/>
                </a:tc>
                <a:extLst>
                  <a:ext uri="{0D108BD9-81ED-4DB2-BD59-A6C34878D82A}">
                    <a16:rowId xmlns:a16="http://schemas.microsoft.com/office/drawing/2014/main" val="2423842125"/>
                  </a:ext>
                </a:extLst>
              </a:tr>
              <a:tr h="612000"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2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3</a:t>
                      </a: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l"/>
                      <a:endParaRPr kumimoji="1" lang="en-US" altLang="ja-JP" sz="12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l"/>
                      <a:endParaRPr kumimoji="1" lang="ja-JP" altLang="en-US" sz="12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l"/>
                      <a:endParaRPr kumimoji="1" lang="ja-JP" altLang="en-US" sz="12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l"/>
                      <a:endParaRPr kumimoji="1" lang="ja-JP" altLang="en-US" sz="12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l"/>
                      <a:endParaRPr kumimoji="1" lang="ja-JP" altLang="en-US" sz="12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000" marR="36000" marT="36000" marB="36000" anchor="ctr"/>
                </a:tc>
                <a:extLst>
                  <a:ext uri="{0D108BD9-81ED-4DB2-BD59-A6C34878D82A}">
                    <a16:rowId xmlns:a16="http://schemas.microsoft.com/office/drawing/2014/main" val="503809182"/>
                  </a:ext>
                </a:extLst>
              </a:tr>
              <a:tr h="612000"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2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4</a:t>
                      </a: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l"/>
                      <a:endParaRPr kumimoji="1" lang="en-US" altLang="ja-JP" sz="12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l"/>
                      <a:endParaRPr kumimoji="1" lang="ja-JP" altLang="en-US" sz="12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l"/>
                      <a:endParaRPr kumimoji="1" lang="ja-JP" altLang="en-US" sz="12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l"/>
                      <a:endParaRPr kumimoji="1" lang="ja-JP" altLang="en-US" sz="12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l"/>
                      <a:endParaRPr kumimoji="1" lang="ja-JP" altLang="en-US" sz="12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000" marR="36000" marT="36000" marB="36000" anchor="ctr"/>
                </a:tc>
                <a:extLst>
                  <a:ext uri="{0D108BD9-81ED-4DB2-BD59-A6C34878D82A}">
                    <a16:rowId xmlns:a16="http://schemas.microsoft.com/office/drawing/2014/main" val="3729930575"/>
                  </a:ext>
                </a:extLst>
              </a:tr>
              <a:tr h="612000"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2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5</a:t>
                      </a: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l"/>
                      <a:endParaRPr kumimoji="1" lang="en-US" altLang="ja-JP" sz="12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l"/>
                      <a:endParaRPr kumimoji="1" lang="ja-JP" altLang="en-US" sz="12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l"/>
                      <a:endParaRPr kumimoji="1" lang="ja-JP" altLang="en-US" sz="12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l"/>
                      <a:endParaRPr kumimoji="1" lang="ja-JP" altLang="en-US" sz="12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l"/>
                      <a:endParaRPr kumimoji="1" lang="ja-JP" altLang="en-US" sz="12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000" marR="36000" marT="36000" marB="36000" anchor="ctr"/>
                </a:tc>
                <a:extLst>
                  <a:ext uri="{0D108BD9-81ED-4DB2-BD59-A6C34878D82A}">
                    <a16:rowId xmlns:a16="http://schemas.microsoft.com/office/drawing/2014/main" val="612124033"/>
                  </a:ext>
                </a:extLst>
              </a:tr>
              <a:tr h="612000"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200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6</a:t>
                      </a: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l"/>
                      <a:endParaRPr kumimoji="1" lang="en-US" altLang="ja-JP" sz="12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l"/>
                      <a:endParaRPr kumimoji="1" lang="ja-JP" altLang="en-US" sz="12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l"/>
                      <a:endParaRPr kumimoji="1" lang="ja-JP" altLang="en-US" sz="12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l"/>
                      <a:endParaRPr kumimoji="1" lang="ja-JP" altLang="en-US" sz="12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l"/>
                      <a:endParaRPr kumimoji="1" lang="ja-JP" altLang="en-US" sz="12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000" marR="36000" marT="36000" marB="36000" anchor="ctr"/>
                </a:tc>
                <a:extLst>
                  <a:ext uri="{0D108BD9-81ED-4DB2-BD59-A6C34878D82A}">
                    <a16:rowId xmlns:a16="http://schemas.microsoft.com/office/drawing/2014/main" val="12360514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688481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2846" name="think-cell スライド" r:id="rId5" imgW="473" imgH="473" progId="TCLayout.ActiveDocument.1">
                  <p:embed/>
                </p:oleObj>
              </mc:Choice>
              <mc:Fallback>
                <p:oleObj name="think-cell スライド" r:id="rId5" imgW="473" imgH="473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タイトル 3"/>
          <p:cNvSpPr>
            <a:spLocks noGrp="1"/>
          </p:cNvSpPr>
          <p:nvPr>
            <p:ph type="title"/>
          </p:nvPr>
        </p:nvSpPr>
        <p:spPr>
          <a:xfrm>
            <a:off x="336805" y="259495"/>
            <a:ext cx="9186273" cy="465011"/>
          </a:xfrm>
        </p:spPr>
        <p:txBody>
          <a:bodyPr lIns="36000" tIns="36000" rIns="36000" bIns="36000" anchor="ctr">
            <a:noAutofit/>
          </a:bodyPr>
          <a:lstStyle/>
          <a:p>
            <a:r>
              <a:rPr lang="en-US" altLang="ja-JP" sz="1800" dirty="0"/>
              <a:t>【</a:t>
            </a:r>
            <a:r>
              <a:rPr lang="ja-JP" altLang="en-US" sz="1800" dirty="0"/>
              <a:t>演習</a:t>
            </a:r>
            <a:r>
              <a:rPr lang="en-US" altLang="ja-JP" sz="1800" dirty="0"/>
              <a:t>b】</a:t>
            </a:r>
            <a:r>
              <a:rPr lang="ja-JP" altLang="en-US" sz="1800" dirty="0"/>
              <a:t>　</a:t>
            </a:r>
            <a:r>
              <a:rPr lang="en-US" altLang="ja-JP" sz="1800" dirty="0"/>
              <a:t>(3)</a:t>
            </a:r>
            <a:r>
              <a:rPr lang="ja-JP" altLang="en-US" sz="1800" dirty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リスクの評価（</a:t>
            </a:r>
            <a:r>
              <a:rPr lang="en-US" altLang="ja-JP" sz="1800" dirty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1/2</a:t>
            </a:r>
            <a:r>
              <a:rPr lang="ja-JP" altLang="en-US" sz="1800" dirty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）</a:t>
            </a:r>
            <a:endParaRPr kumimoji="1" lang="ja-JP" altLang="en-US" sz="1800" dirty="0"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5" name="タイトル 3"/>
          <p:cNvSpPr txBox="1">
            <a:spLocks/>
          </p:cNvSpPr>
          <p:nvPr/>
        </p:nvSpPr>
        <p:spPr>
          <a:xfrm>
            <a:off x="336804" y="963830"/>
            <a:ext cx="9396000" cy="465011"/>
          </a:xfrm>
          <a:prstGeom prst="rect">
            <a:avLst/>
          </a:prstGeom>
        </p:spPr>
        <p:txBody>
          <a:bodyPr vert="horz" wrap="square" lIns="36000" tIns="36000" rIns="36000" bIns="36000" rtlCol="0" anchor="t" anchorCtr="0">
            <a:noAutofit/>
          </a:bodyPr>
          <a:lstStyle>
            <a:lvl1pPr algn="l" defTabSz="74295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lang="en-US" sz="320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ja-JP" altLang="en-US" sz="1600" dirty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棚卸したリスクを評価する際の評価指標を</a:t>
            </a:r>
            <a:r>
              <a:rPr lang="en-US" altLang="ja-JP" sz="1600" dirty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2</a:t>
            </a:r>
            <a:r>
              <a:rPr lang="ja-JP" altLang="en-US" sz="1600" dirty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つ、評価基準、評価指標、スケールを設定してください</a:t>
            </a:r>
            <a:endParaRPr lang="en-US" altLang="ja-JP" sz="1600" dirty="0"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7" name="正方形/長方形 6"/>
          <p:cNvSpPr/>
          <p:nvPr/>
        </p:nvSpPr>
        <p:spPr>
          <a:xfrm>
            <a:off x="644185" y="2022117"/>
            <a:ext cx="1440000" cy="50400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16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評価指標</a:t>
            </a:r>
            <a:endParaRPr lang="en-US" altLang="ja-JP" sz="16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8" name="正方形/長方形 7"/>
          <p:cNvSpPr/>
          <p:nvPr/>
        </p:nvSpPr>
        <p:spPr>
          <a:xfrm>
            <a:off x="644185" y="3249537"/>
            <a:ext cx="1440000" cy="1441957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16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スケール</a:t>
            </a:r>
            <a:endParaRPr lang="en-US" altLang="ja-JP" sz="16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9" name="正方形/長方形 8"/>
          <p:cNvSpPr/>
          <p:nvPr/>
        </p:nvSpPr>
        <p:spPr>
          <a:xfrm>
            <a:off x="644185" y="2622876"/>
            <a:ext cx="1440000" cy="504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16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評価基準</a:t>
            </a:r>
            <a:endParaRPr lang="en-US" altLang="ja-JP" sz="16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10" name="正方形/長方形 9"/>
          <p:cNvSpPr/>
          <p:nvPr/>
        </p:nvSpPr>
        <p:spPr>
          <a:xfrm>
            <a:off x="5701959" y="2022117"/>
            <a:ext cx="3108665" cy="5040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ja-JP" sz="16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12" name="正方形/長方形 11"/>
          <p:cNvSpPr/>
          <p:nvPr/>
        </p:nvSpPr>
        <p:spPr>
          <a:xfrm>
            <a:off x="2453071" y="2022117"/>
            <a:ext cx="3108665" cy="5040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ja-JP" sz="16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13" name="正方形/長方形 12"/>
          <p:cNvSpPr/>
          <p:nvPr/>
        </p:nvSpPr>
        <p:spPr>
          <a:xfrm>
            <a:off x="5701959" y="2642755"/>
            <a:ext cx="3108665" cy="5040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ja-JP" sz="16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14" name="正方形/長方形 13"/>
          <p:cNvSpPr/>
          <p:nvPr/>
        </p:nvSpPr>
        <p:spPr>
          <a:xfrm>
            <a:off x="2453071" y="2642755"/>
            <a:ext cx="3108665" cy="5040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ja-JP" sz="16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15" name="正方形/長方形 14"/>
          <p:cNvSpPr/>
          <p:nvPr/>
        </p:nvSpPr>
        <p:spPr>
          <a:xfrm>
            <a:off x="5701959" y="3263392"/>
            <a:ext cx="3108665" cy="144195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ja-JP" altLang="en-US" sz="160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　</a:t>
            </a:r>
            <a:endParaRPr lang="en-US" altLang="ja-JP" sz="160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ja-JP" altLang="en-US" sz="160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　</a:t>
            </a:r>
            <a:endParaRPr lang="en-US" altLang="ja-JP" sz="160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ja-JP" altLang="en-US" sz="160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　</a:t>
            </a:r>
            <a:endParaRPr lang="en-US" altLang="ja-JP" sz="16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16" name="正方形/長方形 15"/>
          <p:cNvSpPr/>
          <p:nvPr/>
        </p:nvSpPr>
        <p:spPr>
          <a:xfrm>
            <a:off x="2453071" y="3263392"/>
            <a:ext cx="3108665" cy="144195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ja-JP" altLang="en-US" sz="16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　</a:t>
            </a:r>
            <a:endParaRPr lang="en-US" altLang="ja-JP" sz="16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ja-JP" altLang="en-US" sz="16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　</a:t>
            </a:r>
            <a:endParaRPr lang="en-US" altLang="ja-JP" sz="16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ja-JP" altLang="en-US" sz="16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　</a:t>
            </a:r>
            <a:endParaRPr lang="en-US" altLang="ja-JP" sz="16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9637980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3871" name="think-cell スライド" r:id="rId5" imgW="473" imgH="473" progId="TCLayout.ActiveDocument.1">
                  <p:embed/>
                </p:oleObj>
              </mc:Choice>
              <mc:Fallback>
                <p:oleObj name="think-cell スライド" r:id="rId5" imgW="473" imgH="473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タイトル 3"/>
          <p:cNvSpPr>
            <a:spLocks noGrp="1"/>
          </p:cNvSpPr>
          <p:nvPr>
            <p:ph type="title"/>
          </p:nvPr>
        </p:nvSpPr>
        <p:spPr>
          <a:xfrm>
            <a:off x="336805" y="259495"/>
            <a:ext cx="9186273" cy="465011"/>
          </a:xfrm>
        </p:spPr>
        <p:txBody>
          <a:bodyPr lIns="36000" tIns="36000" rIns="36000" bIns="36000" anchor="ctr">
            <a:noAutofit/>
          </a:bodyPr>
          <a:lstStyle/>
          <a:p>
            <a:r>
              <a:rPr lang="en-US" altLang="ja-JP" sz="1800" dirty="0"/>
              <a:t>【</a:t>
            </a:r>
            <a:r>
              <a:rPr lang="ja-JP" altLang="en-US" sz="1800" dirty="0"/>
              <a:t>演習</a:t>
            </a:r>
            <a:r>
              <a:rPr lang="en-US" altLang="ja-JP" sz="1800" dirty="0"/>
              <a:t>b】</a:t>
            </a:r>
            <a:r>
              <a:rPr lang="ja-JP" altLang="en-US" sz="1800" dirty="0"/>
              <a:t>　</a:t>
            </a:r>
            <a:r>
              <a:rPr lang="en-US" altLang="ja-JP" sz="1800" dirty="0"/>
              <a:t>(3)</a:t>
            </a:r>
            <a:r>
              <a:rPr lang="ja-JP" altLang="en-US" sz="1800" dirty="0"/>
              <a:t>リスクの評価（</a:t>
            </a:r>
            <a:r>
              <a:rPr lang="en-US" altLang="ja-JP" sz="1800" dirty="0"/>
              <a:t>2/2</a:t>
            </a:r>
            <a:r>
              <a:rPr lang="ja-JP" altLang="en-US" sz="1800" dirty="0"/>
              <a:t>）</a:t>
            </a:r>
            <a:endParaRPr kumimoji="1" lang="ja-JP" altLang="en-US" sz="1800" dirty="0"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5" name="タイトル 3"/>
          <p:cNvSpPr txBox="1">
            <a:spLocks/>
          </p:cNvSpPr>
          <p:nvPr/>
        </p:nvSpPr>
        <p:spPr>
          <a:xfrm>
            <a:off x="336805" y="963830"/>
            <a:ext cx="9186273" cy="465011"/>
          </a:xfrm>
          <a:prstGeom prst="rect">
            <a:avLst/>
          </a:prstGeom>
        </p:spPr>
        <p:txBody>
          <a:bodyPr vert="horz" wrap="square" lIns="36000" tIns="36000" rIns="36000" bIns="36000" rtlCol="0" anchor="t" anchorCtr="0">
            <a:noAutofit/>
          </a:bodyPr>
          <a:lstStyle>
            <a:lvl1pPr algn="l" defTabSz="74295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lang="en-US" sz="320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42900" indent="-342900">
              <a:buFont typeface="+mj-ea"/>
              <a:buAutoNum type="circleNumDbPlain"/>
            </a:pPr>
            <a:r>
              <a:rPr lang="ja-JP" altLang="en-US" sz="1600" dirty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前ページ設定した評価指標を下表の　　　　　　に記載してください。</a:t>
            </a:r>
            <a:endParaRPr lang="en-US" altLang="ja-JP" sz="1600" dirty="0"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  <a:p>
            <a:pPr marL="342900" indent="-342900">
              <a:buFont typeface="+mj-ea"/>
              <a:buAutoNum type="circleNumDbPlain"/>
            </a:pPr>
            <a:r>
              <a:rPr lang="en-US" altLang="ja-JP" sz="1600" dirty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P61</a:t>
            </a:r>
            <a:r>
              <a:rPr lang="ja-JP" altLang="en-US" sz="1600" dirty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で洗い出した職場のリスクをリスク項目欄に記載してください。</a:t>
            </a:r>
            <a:endParaRPr lang="en-US" altLang="ja-JP" sz="1600" dirty="0"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  <a:p>
            <a:pPr marL="342900" indent="-342900">
              <a:buFont typeface="+mj-ea"/>
              <a:buAutoNum type="circleNumDbPlain"/>
            </a:pPr>
            <a:r>
              <a:rPr lang="ja-JP" altLang="en-US" sz="1600" dirty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リスク項目ごとに前ページで設定したスケールにしたがってリスク評価し、　　　　　　に記載してください。</a:t>
            </a:r>
            <a:endParaRPr lang="en-US" altLang="ja-JP" sz="1600" dirty="0"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7" name="正方形/長方形 6"/>
          <p:cNvSpPr/>
          <p:nvPr/>
        </p:nvSpPr>
        <p:spPr>
          <a:xfrm>
            <a:off x="3847033" y="980729"/>
            <a:ext cx="792000" cy="2520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ja-JP" sz="16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9" name="正方形/長方形 8"/>
          <p:cNvSpPr/>
          <p:nvPr/>
        </p:nvSpPr>
        <p:spPr>
          <a:xfrm>
            <a:off x="221509" y="2160657"/>
            <a:ext cx="2178792" cy="50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16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リスク項目</a:t>
            </a:r>
            <a:endParaRPr lang="en-US" altLang="ja-JP" sz="16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10" name="正方形/長方形 9"/>
          <p:cNvSpPr/>
          <p:nvPr/>
        </p:nvSpPr>
        <p:spPr>
          <a:xfrm>
            <a:off x="2464262" y="2160657"/>
            <a:ext cx="1188000" cy="5040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ja-JP" sz="16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12" name="正方形/長方形 11"/>
          <p:cNvSpPr/>
          <p:nvPr/>
        </p:nvSpPr>
        <p:spPr>
          <a:xfrm>
            <a:off x="3717101" y="2160657"/>
            <a:ext cx="1188000" cy="5040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ja-JP" sz="16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14" name="正方形/長方形 13"/>
          <p:cNvSpPr/>
          <p:nvPr/>
        </p:nvSpPr>
        <p:spPr>
          <a:xfrm>
            <a:off x="221509" y="2721579"/>
            <a:ext cx="2178792" cy="3600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ja-JP" sz="16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15" name="正方形/長方形 14"/>
          <p:cNvSpPr/>
          <p:nvPr/>
        </p:nvSpPr>
        <p:spPr>
          <a:xfrm>
            <a:off x="2464262" y="2721579"/>
            <a:ext cx="1188000" cy="36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ja-JP" sz="16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16" name="正方形/長方形 15"/>
          <p:cNvSpPr/>
          <p:nvPr/>
        </p:nvSpPr>
        <p:spPr>
          <a:xfrm>
            <a:off x="3717101" y="2721579"/>
            <a:ext cx="1188000" cy="36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ja-JP" sz="16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18" name="正方形/長方形 17"/>
          <p:cNvSpPr/>
          <p:nvPr/>
        </p:nvSpPr>
        <p:spPr>
          <a:xfrm>
            <a:off x="221509" y="3124625"/>
            <a:ext cx="2178792" cy="3600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ja-JP" sz="16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19" name="正方形/長方形 18"/>
          <p:cNvSpPr/>
          <p:nvPr/>
        </p:nvSpPr>
        <p:spPr>
          <a:xfrm>
            <a:off x="2464262" y="3124625"/>
            <a:ext cx="1188000" cy="36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ja-JP" sz="16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20" name="正方形/長方形 19"/>
          <p:cNvSpPr/>
          <p:nvPr/>
        </p:nvSpPr>
        <p:spPr>
          <a:xfrm>
            <a:off x="3717101" y="3124625"/>
            <a:ext cx="1188000" cy="36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ja-JP" sz="16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22" name="正方形/長方形 21"/>
          <p:cNvSpPr/>
          <p:nvPr/>
        </p:nvSpPr>
        <p:spPr>
          <a:xfrm>
            <a:off x="221509" y="4333763"/>
            <a:ext cx="2178792" cy="3600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ja-JP" sz="16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23" name="正方形/長方形 22"/>
          <p:cNvSpPr/>
          <p:nvPr/>
        </p:nvSpPr>
        <p:spPr>
          <a:xfrm>
            <a:off x="2464262" y="4333763"/>
            <a:ext cx="1188000" cy="36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ja-JP" sz="16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24" name="正方形/長方形 23"/>
          <p:cNvSpPr/>
          <p:nvPr/>
        </p:nvSpPr>
        <p:spPr>
          <a:xfrm>
            <a:off x="3717101" y="4333763"/>
            <a:ext cx="1188000" cy="36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ja-JP" sz="16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26" name="正方形/長方形 25"/>
          <p:cNvSpPr/>
          <p:nvPr/>
        </p:nvSpPr>
        <p:spPr>
          <a:xfrm>
            <a:off x="221509" y="4736809"/>
            <a:ext cx="2178792" cy="3600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ja-JP" sz="16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27" name="正方形/長方形 26"/>
          <p:cNvSpPr/>
          <p:nvPr/>
        </p:nvSpPr>
        <p:spPr>
          <a:xfrm>
            <a:off x="2464262" y="4736809"/>
            <a:ext cx="1188000" cy="36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ja-JP" sz="16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28" name="正方形/長方形 27"/>
          <p:cNvSpPr/>
          <p:nvPr/>
        </p:nvSpPr>
        <p:spPr>
          <a:xfrm>
            <a:off x="3717101" y="4736809"/>
            <a:ext cx="1188000" cy="36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ja-JP" sz="16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30" name="正方形/長方形 29"/>
          <p:cNvSpPr/>
          <p:nvPr/>
        </p:nvSpPr>
        <p:spPr>
          <a:xfrm>
            <a:off x="221509" y="5139855"/>
            <a:ext cx="2178792" cy="3600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ja-JP" sz="16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31" name="正方形/長方形 30"/>
          <p:cNvSpPr/>
          <p:nvPr/>
        </p:nvSpPr>
        <p:spPr>
          <a:xfrm>
            <a:off x="2464262" y="5139855"/>
            <a:ext cx="1188000" cy="36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ja-JP" sz="16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32" name="正方形/長方形 31"/>
          <p:cNvSpPr/>
          <p:nvPr/>
        </p:nvSpPr>
        <p:spPr>
          <a:xfrm>
            <a:off x="3717101" y="5139855"/>
            <a:ext cx="1188000" cy="36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ja-JP" sz="16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34" name="正方形/長方形 33"/>
          <p:cNvSpPr/>
          <p:nvPr/>
        </p:nvSpPr>
        <p:spPr>
          <a:xfrm>
            <a:off x="221509" y="5542901"/>
            <a:ext cx="2178792" cy="3600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ja-JP" sz="16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35" name="正方形/長方形 34"/>
          <p:cNvSpPr/>
          <p:nvPr/>
        </p:nvSpPr>
        <p:spPr>
          <a:xfrm>
            <a:off x="2464262" y="5542901"/>
            <a:ext cx="1188000" cy="36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ja-JP" sz="16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36" name="正方形/長方形 35"/>
          <p:cNvSpPr/>
          <p:nvPr/>
        </p:nvSpPr>
        <p:spPr>
          <a:xfrm>
            <a:off x="3717101" y="5542901"/>
            <a:ext cx="1188000" cy="36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ja-JP" sz="16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38" name="正方形/長方形 37"/>
          <p:cNvSpPr/>
          <p:nvPr/>
        </p:nvSpPr>
        <p:spPr>
          <a:xfrm>
            <a:off x="221509" y="5945947"/>
            <a:ext cx="2178792" cy="3600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ja-JP" sz="16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39" name="正方形/長方形 38"/>
          <p:cNvSpPr/>
          <p:nvPr/>
        </p:nvSpPr>
        <p:spPr>
          <a:xfrm>
            <a:off x="2464262" y="5945947"/>
            <a:ext cx="1188000" cy="36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ja-JP" sz="16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40" name="正方形/長方形 39"/>
          <p:cNvSpPr/>
          <p:nvPr/>
        </p:nvSpPr>
        <p:spPr>
          <a:xfrm>
            <a:off x="3717101" y="5945947"/>
            <a:ext cx="1188000" cy="36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ja-JP" sz="16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42" name="正方形/長方形 41"/>
          <p:cNvSpPr/>
          <p:nvPr/>
        </p:nvSpPr>
        <p:spPr>
          <a:xfrm>
            <a:off x="221509" y="6348995"/>
            <a:ext cx="2178792" cy="3600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ja-JP" sz="16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43" name="正方形/長方形 42"/>
          <p:cNvSpPr/>
          <p:nvPr/>
        </p:nvSpPr>
        <p:spPr>
          <a:xfrm>
            <a:off x="2464262" y="6348995"/>
            <a:ext cx="1188000" cy="36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ja-JP" sz="16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44" name="正方形/長方形 43"/>
          <p:cNvSpPr/>
          <p:nvPr/>
        </p:nvSpPr>
        <p:spPr>
          <a:xfrm>
            <a:off x="3717101" y="6348995"/>
            <a:ext cx="1188000" cy="36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ja-JP" sz="16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46" name="正方形/長方形 45"/>
          <p:cNvSpPr/>
          <p:nvPr/>
        </p:nvSpPr>
        <p:spPr>
          <a:xfrm>
            <a:off x="221509" y="3527671"/>
            <a:ext cx="2178792" cy="3600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ja-JP" sz="16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47" name="正方形/長方形 46"/>
          <p:cNvSpPr/>
          <p:nvPr/>
        </p:nvSpPr>
        <p:spPr>
          <a:xfrm>
            <a:off x="2464262" y="3527671"/>
            <a:ext cx="1188000" cy="36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ja-JP" sz="16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48" name="正方形/長方形 47"/>
          <p:cNvSpPr/>
          <p:nvPr/>
        </p:nvSpPr>
        <p:spPr>
          <a:xfrm>
            <a:off x="3717101" y="3527671"/>
            <a:ext cx="1188000" cy="36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ja-JP" sz="16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50" name="正方形/長方形 49"/>
          <p:cNvSpPr/>
          <p:nvPr/>
        </p:nvSpPr>
        <p:spPr>
          <a:xfrm>
            <a:off x="221509" y="3930717"/>
            <a:ext cx="2178792" cy="3600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ja-JP" sz="16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51" name="正方形/長方形 50"/>
          <p:cNvSpPr/>
          <p:nvPr/>
        </p:nvSpPr>
        <p:spPr>
          <a:xfrm>
            <a:off x="2464262" y="3930717"/>
            <a:ext cx="1188000" cy="36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ja-JP" sz="16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52" name="正方形/長方形 51"/>
          <p:cNvSpPr/>
          <p:nvPr/>
        </p:nvSpPr>
        <p:spPr>
          <a:xfrm>
            <a:off x="3717101" y="3930717"/>
            <a:ext cx="1188000" cy="36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ja-JP" sz="16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53" name="正方形/長方形 52"/>
          <p:cNvSpPr/>
          <p:nvPr/>
        </p:nvSpPr>
        <p:spPr>
          <a:xfrm>
            <a:off x="6889242" y="1433075"/>
            <a:ext cx="792000" cy="252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ja-JP" sz="16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41" name="正方形/長方形 40"/>
          <p:cNvSpPr/>
          <p:nvPr/>
        </p:nvSpPr>
        <p:spPr>
          <a:xfrm>
            <a:off x="5079259" y="2160657"/>
            <a:ext cx="2178792" cy="50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16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リスク項目</a:t>
            </a:r>
            <a:endParaRPr lang="en-US" altLang="ja-JP" sz="16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45" name="正方形/長方形 44"/>
          <p:cNvSpPr/>
          <p:nvPr/>
        </p:nvSpPr>
        <p:spPr>
          <a:xfrm>
            <a:off x="7322012" y="2160657"/>
            <a:ext cx="1188000" cy="5040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ja-JP" sz="16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49" name="正方形/長方形 48"/>
          <p:cNvSpPr/>
          <p:nvPr/>
        </p:nvSpPr>
        <p:spPr>
          <a:xfrm>
            <a:off x="8574851" y="2160657"/>
            <a:ext cx="1188000" cy="5040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ja-JP" sz="16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54" name="正方形/長方形 53"/>
          <p:cNvSpPr/>
          <p:nvPr/>
        </p:nvSpPr>
        <p:spPr>
          <a:xfrm>
            <a:off x="5079259" y="2721579"/>
            <a:ext cx="2178792" cy="3600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ja-JP" sz="16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55" name="正方形/長方形 54"/>
          <p:cNvSpPr/>
          <p:nvPr/>
        </p:nvSpPr>
        <p:spPr>
          <a:xfrm>
            <a:off x="7322012" y="2721579"/>
            <a:ext cx="1188000" cy="36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ja-JP" sz="16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56" name="正方形/長方形 55"/>
          <p:cNvSpPr/>
          <p:nvPr/>
        </p:nvSpPr>
        <p:spPr>
          <a:xfrm>
            <a:off x="8574851" y="2721579"/>
            <a:ext cx="1188000" cy="36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ja-JP" sz="16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57" name="正方形/長方形 56"/>
          <p:cNvSpPr/>
          <p:nvPr/>
        </p:nvSpPr>
        <p:spPr>
          <a:xfrm>
            <a:off x="5079259" y="3124625"/>
            <a:ext cx="2178792" cy="3600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ja-JP" sz="16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58" name="正方形/長方形 57"/>
          <p:cNvSpPr/>
          <p:nvPr/>
        </p:nvSpPr>
        <p:spPr>
          <a:xfrm>
            <a:off x="7322012" y="3124625"/>
            <a:ext cx="1188000" cy="36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ja-JP" sz="16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59" name="正方形/長方形 58"/>
          <p:cNvSpPr/>
          <p:nvPr/>
        </p:nvSpPr>
        <p:spPr>
          <a:xfrm>
            <a:off x="8574851" y="3124625"/>
            <a:ext cx="1188000" cy="36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ja-JP" sz="16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60" name="正方形/長方形 59"/>
          <p:cNvSpPr/>
          <p:nvPr/>
        </p:nvSpPr>
        <p:spPr>
          <a:xfrm>
            <a:off x="5079259" y="4333763"/>
            <a:ext cx="2178792" cy="3600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ja-JP" sz="16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61" name="正方形/長方形 60"/>
          <p:cNvSpPr/>
          <p:nvPr/>
        </p:nvSpPr>
        <p:spPr>
          <a:xfrm>
            <a:off x="7322012" y="4333763"/>
            <a:ext cx="1188000" cy="36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ja-JP" sz="16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62" name="正方形/長方形 61"/>
          <p:cNvSpPr/>
          <p:nvPr/>
        </p:nvSpPr>
        <p:spPr>
          <a:xfrm>
            <a:off x="8574851" y="4333763"/>
            <a:ext cx="1188000" cy="36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ja-JP" sz="16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63" name="正方形/長方形 62"/>
          <p:cNvSpPr/>
          <p:nvPr/>
        </p:nvSpPr>
        <p:spPr>
          <a:xfrm>
            <a:off x="5079259" y="4736809"/>
            <a:ext cx="2178792" cy="3600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ja-JP" sz="16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64" name="正方形/長方形 63"/>
          <p:cNvSpPr/>
          <p:nvPr/>
        </p:nvSpPr>
        <p:spPr>
          <a:xfrm>
            <a:off x="7322012" y="4736809"/>
            <a:ext cx="1188000" cy="36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ja-JP" sz="16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65" name="正方形/長方形 64"/>
          <p:cNvSpPr/>
          <p:nvPr/>
        </p:nvSpPr>
        <p:spPr>
          <a:xfrm>
            <a:off x="8574851" y="4736809"/>
            <a:ext cx="1188000" cy="36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ja-JP" sz="16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66" name="正方形/長方形 65"/>
          <p:cNvSpPr/>
          <p:nvPr/>
        </p:nvSpPr>
        <p:spPr>
          <a:xfrm>
            <a:off x="5079259" y="5139855"/>
            <a:ext cx="2178792" cy="3600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ja-JP" sz="16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67" name="正方形/長方形 66"/>
          <p:cNvSpPr/>
          <p:nvPr/>
        </p:nvSpPr>
        <p:spPr>
          <a:xfrm>
            <a:off x="7322012" y="5139855"/>
            <a:ext cx="1188000" cy="36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ja-JP" sz="16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68" name="正方形/長方形 67"/>
          <p:cNvSpPr/>
          <p:nvPr/>
        </p:nvSpPr>
        <p:spPr>
          <a:xfrm>
            <a:off x="8574851" y="5139855"/>
            <a:ext cx="1188000" cy="36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ja-JP" sz="16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69" name="正方形/長方形 68"/>
          <p:cNvSpPr/>
          <p:nvPr/>
        </p:nvSpPr>
        <p:spPr>
          <a:xfrm>
            <a:off x="5079259" y="5542901"/>
            <a:ext cx="2178792" cy="3600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ja-JP" sz="16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70" name="正方形/長方形 69"/>
          <p:cNvSpPr/>
          <p:nvPr/>
        </p:nvSpPr>
        <p:spPr>
          <a:xfrm>
            <a:off x="7322012" y="5542901"/>
            <a:ext cx="1188000" cy="36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ja-JP" sz="16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71" name="正方形/長方形 70"/>
          <p:cNvSpPr/>
          <p:nvPr/>
        </p:nvSpPr>
        <p:spPr>
          <a:xfrm>
            <a:off x="8574851" y="5542901"/>
            <a:ext cx="1188000" cy="36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ja-JP" sz="16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72" name="正方形/長方形 71"/>
          <p:cNvSpPr/>
          <p:nvPr/>
        </p:nvSpPr>
        <p:spPr>
          <a:xfrm>
            <a:off x="5079259" y="5945947"/>
            <a:ext cx="2178792" cy="3600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ja-JP" sz="16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73" name="正方形/長方形 72"/>
          <p:cNvSpPr/>
          <p:nvPr/>
        </p:nvSpPr>
        <p:spPr>
          <a:xfrm>
            <a:off x="7322012" y="5945947"/>
            <a:ext cx="1188000" cy="36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ja-JP" sz="16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74" name="正方形/長方形 73"/>
          <p:cNvSpPr/>
          <p:nvPr/>
        </p:nvSpPr>
        <p:spPr>
          <a:xfrm>
            <a:off x="8574851" y="5945947"/>
            <a:ext cx="1188000" cy="36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ja-JP" sz="16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75" name="正方形/長方形 74"/>
          <p:cNvSpPr/>
          <p:nvPr/>
        </p:nvSpPr>
        <p:spPr>
          <a:xfrm>
            <a:off x="5079259" y="6348995"/>
            <a:ext cx="2178792" cy="3600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ja-JP" sz="16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76" name="正方形/長方形 75"/>
          <p:cNvSpPr/>
          <p:nvPr/>
        </p:nvSpPr>
        <p:spPr>
          <a:xfrm>
            <a:off x="7322012" y="6348995"/>
            <a:ext cx="1188000" cy="36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ja-JP" sz="16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77" name="正方形/長方形 76"/>
          <p:cNvSpPr/>
          <p:nvPr/>
        </p:nvSpPr>
        <p:spPr>
          <a:xfrm>
            <a:off x="8574851" y="6348995"/>
            <a:ext cx="1188000" cy="36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ja-JP" sz="16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78" name="正方形/長方形 77"/>
          <p:cNvSpPr/>
          <p:nvPr/>
        </p:nvSpPr>
        <p:spPr>
          <a:xfrm>
            <a:off x="5079259" y="3527671"/>
            <a:ext cx="2178792" cy="3600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ja-JP" sz="16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79" name="正方形/長方形 78"/>
          <p:cNvSpPr/>
          <p:nvPr/>
        </p:nvSpPr>
        <p:spPr>
          <a:xfrm>
            <a:off x="7322012" y="3527671"/>
            <a:ext cx="1188000" cy="36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ja-JP" sz="16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80" name="正方形/長方形 79"/>
          <p:cNvSpPr/>
          <p:nvPr/>
        </p:nvSpPr>
        <p:spPr>
          <a:xfrm>
            <a:off x="8574851" y="3527671"/>
            <a:ext cx="1188000" cy="36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ja-JP" sz="16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81" name="正方形/長方形 80"/>
          <p:cNvSpPr/>
          <p:nvPr/>
        </p:nvSpPr>
        <p:spPr>
          <a:xfrm>
            <a:off x="5079259" y="3930717"/>
            <a:ext cx="2178792" cy="3600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ja-JP" sz="16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82" name="正方形/長方形 81"/>
          <p:cNvSpPr/>
          <p:nvPr/>
        </p:nvSpPr>
        <p:spPr>
          <a:xfrm>
            <a:off x="7322012" y="3930717"/>
            <a:ext cx="1188000" cy="36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ja-JP" sz="16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83" name="正方形/長方形 82"/>
          <p:cNvSpPr/>
          <p:nvPr/>
        </p:nvSpPr>
        <p:spPr>
          <a:xfrm>
            <a:off x="8574851" y="3930717"/>
            <a:ext cx="1188000" cy="36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ja-JP" sz="16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6245466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4895" name="think-cell スライド" r:id="rId5" imgW="473" imgH="473" progId="TCLayout.ActiveDocument.1">
                  <p:embed/>
                </p:oleObj>
              </mc:Choice>
              <mc:Fallback>
                <p:oleObj name="think-cell スライド" r:id="rId5" imgW="473" imgH="473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タイトル 3"/>
          <p:cNvSpPr>
            <a:spLocks noGrp="1"/>
          </p:cNvSpPr>
          <p:nvPr>
            <p:ph type="title"/>
          </p:nvPr>
        </p:nvSpPr>
        <p:spPr>
          <a:xfrm>
            <a:off x="336805" y="259495"/>
            <a:ext cx="9186273" cy="465011"/>
          </a:xfrm>
        </p:spPr>
        <p:txBody>
          <a:bodyPr lIns="36000" tIns="36000" rIns="36000" bIns="36000" anchor="ctr">
            <a:noAutofit/>
          </a:bodyPr>
          <a:lstStyle/>
          <a:p>
            <a:r>
              <a:rPr lang="en-US" altLang="ja-JP" sz="1800" dirty="0"/>
              <a:t>【</a:t>
            </a:r>
            <a:r>
              <a:rPr lang="ja-JP" altLang="en-US" sz="1800" dirty="0"/>
              <a:t>演習</a:t>
            </a:r>
            <a:r>
              <a:rPr lang="en-US" altLang="ja-JP" sz="1800" dirty="0"/>
              <a:t>b】</a:t>
            </a:r>
            <a:r>
              <a:rPr lang="ja-JP" altLang="en-US" sz="1800" dirty="0"/>
              <a:t>　</a:t>
            </a:r>
            <a:r>
              <a:rPr lang="en-US" altLang="ja-JP" sz="1800" dirty="0"/>
              <a:t>(4)</a:t>
            </a:r>
            <a:r>
              <a:rPr lang="ja-JP" altLang="en-US" sz="1800" dirty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リスクの優先順位付け</a:t>
            </a:r>
            <a:endParaRPr kumimoji="1" lang="ja-JP" altLang="en-US" sz="1800" dirty="0"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5" name="タイトル 3"/>
          <p:cNvSpPr txBox="1">
            <a:spLocks/>
          </p:cNvSpPr>
          <p:nvPr/>
        </p:nvSpPr>
        <p:spPr>
          <a:xfrm>
            <a:off x="336805" y="963830"/>
            <a:ext cx="9186273" cy="465011"/>
          </a:xfrm>
          <a:prstGeom prst="rect">
            <a:avLst/>
          </a:prstGeom>
        </p:spPr>
        <p:txBody>
          <a:bodyPr vert="horz" wrap="square" lIns="36000" tIns="36000" rIns="36000" bIns="36000" rtlCol="0" anchor="t" anchorCtr="0">
            <a:noAutofit/>
          </a:bodyPr>
          <a:lstStyle>
            <a:lvl1pPr algn="l" defTabSz="74295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lang="en-US" sz="320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42900" indent="-342900">
              <a:buFont typeface="+mj-ea"/>
              <a:buAutoNum type="circleNumDbPlain"/>
            </a:pPr>
            <a:r>
              <a:rPr lang="en-US" altLang="ja-JP" sz="1600" dirty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P62</a:t>
            </a:r>
            <a:r>
              <a:rPr lang="ja-JP" altLang="en-US" sz="1600" dirty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で設定した評価指標を下表の　　　　　　に記載してください。</a:t>
            </a:r>
            <a:endParaRPr lang="en-US" altLang="ja-JP" sz="1600" dirty="0"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  <a:p>
            <a:pPr marL="342900" indent="-342900">
              <a:buFont typeface="+mj-ea"/>
              <a:buAutoNum type="circleNumDbPlain"/>
            </a:pPr>
            <a:r>
              <a:rPr lang="en-US" altLang="ja-JP" sz="1600" dirty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P62</a:t>
            </a:r>
            <a:r>
              <a:rPr lang="ja-JP" altLang="en-US" sz="1600" dirty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で設定したスケールを下表の　　　　　　に記載してください。</a:t>
            </a:r>
            <a:endParaRPr lang="en-US" altLang="ja-JP" sz="1600" dirty="0"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  <a:p>
            <a:pPr marL="342900" indent="-342900">
              <a:buFont typeface="+mj-ea"/>
              <a:buAutoNum type="circleNumDbPlain"/>
            </a:pPr>
            <a:r>
              <a:rPr lang="ja-JP" altLang="en-US" sz="1600" dirty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前ページで評価した結果を下表にプロットしてください。</a:t>
            </a:r>
            <a:endParaRPr lang="en-US" altLang="ja-JP" sz="1600" dirty="0"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7" name="正方形/長方形 6"/>
          <p:cNvSpPr/>
          <p:nvPr/>
        </p:nvSpPr>
        <p:spPr>
          <a:xfrm>
            <a:off x="3580161" y="990457"/>
            <a:ext cx="792000" cy="2160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ja-JP" sz="16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53" name="正方形/長方形 52"/>
          <p:cNvSpPr/>
          <p:nvPr/>
        </p:nvSpPr>
        <p:spPr>
          <a:xfrm>
            <a:off x="3538101" y="1229391"/>
            <a:ext cx="792000" cy="216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ja-JP" sz="16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graphicFrame>
        <p:nvGraphicFramePr>
          <p:cNvPr id="54" name="表 53"/>
          <p:cNvGraphicFramePr>
            <a:graphicFrameLocks noGrp="1"/>
          </p:cNvGraphicFramePr>
          <p:nvPr>
            <p:extLst/>
          </p:nvPr>
        </p:nvGraphicFramePr>
        <p:xfrm>
          <a:off x="2232660" y="2057400"/>
          <a:ext cx="5616000" cy="35640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872000">
                  <a:extLst>
                    <a:ext uri="{9D8B030D-6E8A-4147-A177-3AD203B41FA5}">
                      <a16:colId xmlns:a16="http://schemas.microsoft.com/office/drawing/2014/main" val="3514158712"/>
                    </a:ext>
                  </a:extLst>
                </a:gridCol>
                <a:gridCol w="1872000">
                  <a:extLst>
                    <a:ext uri="{9D8B030D-6E8A-4147-A177-3AD203B41FA5}">
                      <a16:colId xmlns:a16="http://schemas.microsoft.com/office/drawing/2014/main" val="3828436542"/>
                    </a:ext>
                  </a:extLst>
                </a:gridCol>
                <a:gridCol w="1872000">
                  <a:extLst>
                    <a:ext uri="{9D8B030D-6E8A-4147-A177-3AD203B41FA5}">
                      <a16:colId xmlns:a16="http://schemas.microsoft.com/office/drawing/2014/main" val="111573118"/>
                    </a:ext>
                  </a:extLst>
                </a:gridCol>
              </a:tblGrid>
              <a:tr h="1188000">
                <a:tc>
                  <a:txBody>
                    <a:bodyPr/>
                    <a:lstStyle/>
                    <a:p>
                      <a:endParaRPr kumimoji="1" lang="ja-JP" altLang="en-US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92506360"/>
                  </a:ext>
                </a:extLst>
              </a:tr>
              <a:tr h="1188000">
                <a:tc>
                  <a:txBody>
                    <a:bodyPr/>
                    <a:lstStyle/>
                    <a:p>
                      <a:endParaRPr kumimoji="1" lang="ja-JP" altLang="en-US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8286164"/>
                  </a:ext>
                </a:extLst>
              </a:tr>
              <a:tr h="1188000">
                <a:tc>
                  <a:txBody>
                    <a:bodyPr/>
                    <a:lstStyle/>
                    <a:p>
                      <a:endParaRPr kumimoji="1" lang="ja-JP" altLang="en-US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06655440"/>
                  </a:ext>
                </a:extLst>
              </a:tr>
            </a:tbl>
          </a:graphicData>
        </a:graphic>
      </p:graphicFrame>
      <p:sp>
        <p:nvSpPr>
          <p:cNvPr id="55" name="正方形/長方形 54"/>
          <p:cNvSpPr/>
          <p:nvPr/>
        </p:nvSpPr>
        <p:spPr>
          <a:xfrm>
            <a:off x="3078994" y="6262559"/>
            <a:ext cx="3923332" cy="5040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ja-JP" sz="16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56" name="正方形/長方形 55"/>
          <p:cNvSpPr/>
          <p:nvPr/>
        </p:nvSpPr>
        <p:spPr>
          <a:xfrm>
            <a:off x="1006044" y="2523744"/>
            <a:ext cx="504000" cy="268833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ja-JP" sz="16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63" name="正方形/長方形 62"/>
          <p:cNvSpPr/>
          <p:nvPr/>
        </p:nvSpPr>
        <p:spPr>
          <a:xfrm>
            <a:off x="2375621" y="5672452"/>
            <a:ext cx="1620000" cy="504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ja-JP" sz="16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64" name="正方形/長方形 63"/>
          <p:cNvSpPr/>
          <p:nvPr/>
        </p:nvSpPr>
        <p:spPr>
          <a:xfrm>
            <a:off x="4230660" y="5672452"/>
            <a:ext cx="1620000" cy="504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ja-JP" sz="16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65" name="正方形/長方形 64"/>
          <p:cNvSpPr/>
          <p:nvPr/>
        </p:nvSpPr>
        <p:spPr>
          <a:xfrm>
            <a:off x="6112776" y="5672452"/>
            <a:ext cx="1620000" cy="504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ja-JP" sz="16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66" name="正方形/長方形 65"/>
          <p:cNvSpPr/>
          <p:nvPr/>
        </p:nvSpPr>
        <p:spPr>
          <a:xfrm>
            <a:off x="1617932" y="2093976"/>
            <a:ext cx="504000" cy="108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ja-JP" sz="16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67" name="正方形/長方形 66"/>
          <p:cNvSpPr/>
          <p:nvPr/>
        </p:nvSpPr>
        <p:spPr>
          <a:xfrm>
            <a:off x="1617932" y="3293318"/>
            <a:ext cx="504000" cy="108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ja-JP" sz="16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68" name="正方形/長方形 67"/>
          <p:cNvSpPr/>
          <p:nvPr/>
        </p:nvSpPr>
        <p:spPr>
          <a:xfrm>
            <a:off x="1617932" y="4492660"/>
            <a:ext cx="504000" cy="108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ja-JP" sz="16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2425344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990" name="think-cell スライド" r:id="rId4" imgW="473" imgH="473" progId="TCLayout.ActiveDocument.1">
                  <p:embed/>
                </p:oleObj>
              </mc:Choice>
              <mc:Fallback>
                <p:oleObj name="think-cell スライド" r:id="rId4" imgW="473" imgH="473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タイトル 3"/>
          <p:cNvSpPr>
            <a:spLocks noGrp="1"/>
          </p:cNvSpPr>
          <p:nvPr>
            <p:ph type="title"/>
          </p:nvPr>
        </p:nvSpPr>
        <p:spPr>
          <a:xfrm>
            <a:off x="336805" y="259495"/>
            <a:ext cx="9186273" cy="465011"/>
          </a:xfrm>
        </p:spPr>
        <p:txBody>
          <a:bodyPr lIns="36000" tIns="36000" rIns="36000" bIns="36000" anchor="ctr">
            <a:noAutofit/>
          </a:bodyPr>
          <a:lstStyle/>
          <a:p>
            <a:r>
              <a:rPr lang="en-US" altLang="ja-JP" sz="1800" dirty="0"/>
              <a:t>3-1.</a:t>
            </a:r>
            <a:r>
              <a:rPr lang="ja-JP" altLang="en-US" sz="1800" dirty="0"/>
              <a:t>アクションプランの作成</a:t>
            </a:r>
            <a:endParaRPr kumimoji="1" lang="ja-JP" altLang="en-US" sz="1800" dirty="0"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5" name="タイトル 3"/>
          <p:cNvSpPr txBox="1">
            <a:spLocks/>
          </p:cNvSpPr>
          <p:nvPr/>
        </p:nvSpPr>
        <p:spPr>
          <a:xfrm>
            <a:off x="336805" y="963830"/>
            <a:ext cx="9186273" cy="465011"/>
          </a:xfrm>
          <a:prstGeom prst="rect">
            <a:avLst/>
          </a:prstGeom>
        </p:spPr>
        <p:txBody>
          <a:bodyPr vert="horz" wrap="square" lIns="36000" tIns="36000" rIns="36000" bIns="36000" rtlCol="0" anchor="t" anchorCtr="0">
            <a:noAutofit/>
          </a:bodyPr>
          <a:lstStyle>
            <a:lvl1pPr algn="l" defTabSz="74295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lang="en-US" sz="320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ja-JP" sz="1600" dirty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P64</a:t>
            </a:r>
            <a:r>
              <a:rPr lang="ja-JP" altLang="en-US" sz="1600" dirty="0" err="1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で優</a:t>
            </a:r>
            <a:r>
              <a:rPr lang="ja-JP" altLang="en-US" sz="1600" dirty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先順位をつけた職場のリスク等を参考にして、これからのアクションプランを作成してください。</a:t>
            </a:r>
            <a:endParaRPr lang="en-US" altLang="ja-JP" sz="1600" dirty="0"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7" name="正方形/長方形 6"/>
          <p:cNvSpPr/>
          <p:nvPr/>
        </p:nvSpPr>
        <p:spPr>
          <a:xfrm>
            <a:off x="230592" y="2684333"/>
            <a:ext cx="1191803" cy="442966"/>
          </a:xfrm>
          <a:prstGeom prst="rect">
            <a:avLst/>
          </a:prstGeom>
          <a:solidFill>
            <a:schemeClr val="accent5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ja-JP" altLang="en-US" sz="1200" dirty="0">
                <a:solidFill>
                  <a:schemeClr val="bg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リスク対策目標</a:t>
            </a:r>
            <a:endParaRPr kumimoji="1" lang="ja-JP" altLang="en-US" sz="1200" dirty="0">
              <a:solidFill>
                <a:schemeClr val="bg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8" name="正方形/長方形 7"/>
          <p:cNvSpPr/>
          <p:nvPr/>
        </p:nvSpPr>
        <p:spPr>
          <a:xfrm>
            <a:off x="1476495" y="3532664"/>
            <a:ext cx="2856152" cy="71033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endParaRPr kumimoji="1" lang="ja-JP" altLang="en-US" sz="12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9" name="正方形/長方形 8"/>
          <p:cNvSpPr/>
          <p:nvPr/>
        </p:nvSpPr>
        <p:spPr>
          <a:xfrm>
            <a:off x="230592" y="1650531"/>
            <a:ext cx="1191803" cy="442966"/>
          </a:xfrm>
          <a:prstGeom prst="rect">
            <a:avLst/>
          </a:prstGeom>
          <a:solidFill>
            <a:schemeClr val="accent5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ja-JP" altLang="en-US" sz="1200" dirty="0">
                <a:solidFill>
                  <a:schemeClr val="bg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作成日</a:t>
            </a:r>
            <a:endParaRPr kumimoji="1" lang="ja-JP" altLang="en-US" sz="1200" dirty="0">
              <a:solidFill>
                <a:schemeClr val="bg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10" name="正方形/長方形 9"/>
          <p:cNvSpPr/>
          <p:nvPr/>
        </p:nvSpPr>
        <p:spPr>
          <a:xfrm>
            <a:off x="1476496" y="1650531"/>
            <a:ext cx="3341026" cy="44296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endParaRPr kumimoji="1" lang="ja-JP" altLang="en-US" sz="12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11" name="正方形/長方形 10"/>
          <p:cNvSpPr/>
          <p:nvPr/>
        </p:nvSpPr>
        <p:spPr>
          <a:xfrm>
            <a:off x="230592" y="2167432"/>
            <a:ext cx="1191803" cy="442966"/>
          </a:xfrm>
          <a:prstGeom prst="rect">
            <a:avLst/>
          </a:prstGeom>
          <a:solidFill>
            <a:schemeClr val="accent5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ja-JP" altLang="en-US" sz="1200" dirty="0">
                <a:solidFill>
                  <a:schemeClr val="bg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対象リスク</a:t>
            </a:r>
            <a:endParaRPr kumimoji="1" lang="ja-JP" altLang="en-US" sz="1200" dirty="0">
              <a:solidFill>
                <a:schemeClr val="bg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12" name="正方形/長方形 11"/>
          <p:cNvSpPr/>
          <p:nvPr/>
        </p:nvSpPr>
        <p:spPr>
          <a:xfrm>
            <a:off x="1476496" y="2167432"/>
            <a:ext cx="8046582" cy="44296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endParaRPr kumimoji="1" lang="ja-JP" altLang="en-US" sz="12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13" name="正方形/長方形 12"/>
          <p:cNvSpPr/>
          <p:nvPr/>
        </p:nvSpPr>
        <p:spPr>
          <a:xfrm>
            <a:off x="1476495" y="2684333"/>
            <a:ext cx="8067414" cy="44296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endParaRPr kumimoji="1" lang="ja-JP" altLang="en-US" sz="12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15" name="正方形/長方形 14"/>
          <p:cNvSpPr/>
          <p:nvPr/>
        </p:nvSpPr>
        <p:spPr>
          <a:xfrm>
            <a:off x="230592" y="3201234"/>
            <a:ext cx="1191803" cy="2600184"/>
          </a:xfrm>
          <a:prstGeom prst="rect">
            <a:avLst/>
          </a:prstGeom>
          <a:solidFill>
            <a:schemeClr val="accent5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ja-JP" altLang="en-US" sz="1200" dirty="0">
                <a:solidFill>
                  <a:schemeClr val="bg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実施計画</a:t>
            </a:r>
            <a:endParaRPr kumimoji="1" lang="ja-JP" altLang="en-US" sz="1200" dirty="0">
              <a:solidFill>
                <a:schemeClr val="bg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16" name="正方形/長方形 15"/>
          <p:cNvSpPr/>
          <p:nvPr/>
        </p:nvSpPr>
        <p:spPr>
          <a:xfrm>
            <a:off x="1476495" y="3201234"/>
            <a:ext cx="2856152" cy="262556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kumimoji="1" lang="ja-JP" altLang="en-US" sz="12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実施事項</a:t>
            </a:r>
          </a:p>
        </p:txBody>
      </p:sp>
      <p:sp>
        <p:nvSpPr>
          <p:cNvPr id="17" name="正方形/長方形 16"/>
          <p:cNvSpPr/>
          <p:nvPr/>
        </p:nvSpPr>
        <p:spPr>
          <a:xfrm>
            <a:off x="4378738" y="3532664"/>
            <a:ext cx="2856152" cy="71033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endParaRPr kumimoji="1" lang="ja-JP" altLang="en-US" sz="12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18" name="正方形/長方形 17"/>
          <p:cNvSpPr/>
          <p:nvPr/>
        </p:nvSpPr>
        <p:spPr>
          <a:xfrm>
            <a:off x="4378738" y="3201234"/>
            <a:ext cx="2856152" cy="262556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ja-JP" altLang="en-US" sz="12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実施方法</a:t>
            </a:r>
            <a:endParaRPr kumimoji="1" lang="ja-JP" altLang="en-US" sz="12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19" name="正方形/長方形 18"/>
          <p:cNvSpPr/>
          <p:nvPr/>
        </p:nvSpPr>
        <p:spPr>
          <a:xfrm>
            <a:off x="7280981" y="3532664"/>
            <a:ext cx="723582" cy="71033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endParaRPr kumimoji="1" lang="ja-JP" altLang="en-US" sz="12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20" name="正方形/長方形 19"/>
          <p:cNvSpPr/>
          <p:nvPr/>
        </p:nvSpPr>
        <p:spPr>
          <a:xfrm>
            <a:off x="7280981" y="3201234"/>
            <a:ext cx="723582" cy="262556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kumimoji="1" lang="ja-JP" altLang="en-US" sz="12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開始日</a:t>
            </a:r>
          </a:p>
        </p:txBody>
      </p:sp>
      <p:sp>
        <p:nvSpPr>
          <p:cNvPr id="21" name="正方形/長方形 20"/>
          <p:cNvSpPr/>
          <p:nvPr/>
        </p:nvSpPr>
        <p:spPr>
          <a:xfrm>
            <a:off x="8050654" y="3532664"/>
            <a:ext cx="723582" cy="71033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endParaRPr kumimoji="1" lang="ja-JP" altLang="en-US" sz="12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22" name="正方形/長方形 21"/>
          <p:cNvSpPr/>
          <p:nvPr/>
        </p:nvSpPr>
        <p:spPr>
          <a:xfrm>
            <a:off x="8050654" y="3201234"/>
            <a:ext cx="723582" cy="262556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kumimoji="1" lang="ja-JP" altLang="en-US" sz="12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完了日</a:t>
            </a:r>
          </a:p>
        </p:txBody>
      </p:sp>
      <p:sp>
        <p:nvSpPr>
          <p:cNvPr id="23" name="正方形/長方形 22"/>
          <p:cNvSpPr/>
          <p:nvPr/>
        </p:nvSpPr>
        <p:spPr>
          <a:xfrm>
            <a:off x="8820327" y="3532664"/>
            <a:ext cx="723582" cy="71033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endParaRPr kumimoji="1" lang="ja-JP" altLang="en-US" sz="12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24" name="正方形/長方形 23"/>
          <p:cNvSpPr/>
          <p:nvPr/>
        </p:nvSpPr>
        <p:spPr>
          <a:xfrm>
            <a:off x="8820327" y="3201234"/>
            <a:ext cx="723582" cy="262556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ja-JP" altLang="en-US" sz="12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担当者</a:t>
            </a:r>
            <a:endParaRPr kumimoji="1" lang="ja-JP" altLang="en-US" sz="12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25" name="正方形/長方形 24"/>
          <p:cNvSpPr/>
          <p:nvPr/>
        </p:nvSpPr>
        <p:spPr>
          <a:xfrm>
            <a:off x="1476495" y="4311873"/>
            <a:ext cx="2856152" cy="71033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endParaRPr kumimoji="1" lang="ja-JP" altLang="en-US" sz="12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26" name="正方形/長方形 25"/>
          <p:cNvSpPr/>
          <p:nvPr/>
        </p:nvSpPr>
        <p:spPr>
          <a:xfrm>
            <a:off x="4378738" y="4311873"/>
            <a:ext cx="2856152" cy="71033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endParaRPr kumimoji="1" lang="ja-JP" altLang="en-US" sz="12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27" name="正方形/長方形 26"/>
          <p:cNvSpPr/>
          <p:nvPr/>
        </p:nvSpPr>
        <p:spPr>
          <a:xfrm>
            <a:off x="7280981" y="4311873"/>
            <a:ext cx="723582" cy="71033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endParaRPr kumimoji="1" lang="ja-JP" altLang="en-US" sz="12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28" name="正方形/長方形 27"/>
          <p:cNvSpPr/>
          <p:nvPr/>
        </p:nvSpPr>
        <p:spPr>
          <a:xfrm>
            <a:off x="8050654" y="4311873"/>
            <a:ext cx="723582" cy="71033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endParaRPr kumimoji="1" lang="ja-JP" altLang="en-US" sz="12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29" name="正方形/長方形 28"/>
          <p:cNvSpPr/>
          <p:nvPr/>
        </p:nvSpPr>
        <p:spPr>
          <a:xfrm>
            <a:off x="8820327" y="4311873"/>
            <a:ext cx="723582" cy="71033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endParaRPr kumimoji="1" lang="ja-JP" altLang="en-US" sz="12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30" name="正方形/長方形 29"/>
          <p:cNvSpPr/>
          <p:nvPr/>
        </p:nvSpPr>
        <p:spPr>
          <a:xfrm>
            <a:off x="1476495" y="5091083"/>
            <a:ext cx="2856152" cy="71033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endParaRPr kumimoji="1" lang="ja-JP" altLang="en-US" sz="12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31" name="正方形/長方形 30"/>
          <p:cNvSpPr/>
          <p:nvPr/>
        </p:nvSpPr>
        <p:spPr>
          <a:xfrm>
            <a:off x="4378738" y="5091083"/>
            <a:ext cx="2856152" cy="71033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endParaRPr kumimoji="1" lang="ja-JP" altLang="en-US" sz="12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32" name="正方形/長方形 31"/>
          <p:cNvSpPr/>
          <p:nvPr/>
        </p:nvSpPr>
        <p:spPr>
          <a:xfrm>
            <a:off x="7280981" y="5091083"/>
            <a:ext cx="723582" cy="71033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endParaRPr kumimoji="1" lang="ja-JP" altLang="en-US" sz="12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33" name="正方形/長方形 32"/>
          <p:cNvSpPr/>
          <p:nvPr/>
        </p:nvSpPr>
        <p:spPr>
          <a:xfrm>
            <a:off x="8050654" y="5091083"/>
            <a:ext cx="723582" cy="71033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endParaRPr kumimoji="1" lang="ja-JP" altLang="en-US" sz="12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34" name="正方形/長方形 33"/>
          <p:cNvSpPr/>
          <p:nvPr/>
        </p:nvSpPr>
        <p:spPr>
          <a:xfrm>
            <a:off x="8820327" y="5091083"/>
            <a:ext cx="723582" cy="71033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endParaRPr kumimoji="1" lang="ja-JP" altLang="en-US" sz="12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35" name="正方形/長方形 34"/>
          <p:cNvSpPr/>
          <p:nvPr/>
        </p:nvSpPr>
        <p:spPr>
          <a:xfrm>
            <a:off x="230592" y="5875354"/>
            <a:ext cx="1191803" cy="671361"/>
          </a:xfrm>
          <a:prstGeom prst="rect">
            <a:avLst/>
          </a:prstGeom>
          <a:solidFill>
            <a:schemeClr val="accent5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US" altLang="ja-JP" sz="1200" dirty="0">
                <a:solidFill>
                  <a:schemeClr val="bg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KPI</a:t>
            </a:r>
            <a:endParaRPr kumimoji="1" lang="ja-JP" altLang="en-US" sz="1200" dirty="0">
              <a:solidFill>
                <a:schemeClr val="bg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36" name="正方形/長方形 35"/>
          <p:cNvSpPr/>
          <p:nvPr/>
        </p:nvSpPr>
        <p:spPr>
          <a:xfrm>
            <a:off x="1476495" y="5875354"/>
            <a:ext cx="8067414" cy="67136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endParaRPr kumimoji="1" lang="ja-JP" altLang="en-US" sz="12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0624035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PWC Office Theme Colors">
      <a:dk1>
        <a:sysClr val="windowText" lastClr="000000"/>
      </a:dk1>
      <a:lt1>
        <a:sysClr val="window" lastClr="FFFFFF"/>
      </a:lt1>
      <a:dk2>
        <a:srgbClr val="E0301E"/>
      </a:dk2>
      <a:lt2>
        <a:srgbClr val="7C7C7B"/>
      </a:lt2>
      <a:accent1>
        <a:srgbClr val="E0301E"/>
      </a:accent1>
      <a:accent2>
        <a:srgbClr val="000000"/>
      </a:accent2>
      <a:accent3>
        <a:srgbClr val="2D2D2D"/>
      </a:accent3>
      <a:accent4>
        <a:srgbClr val="5A5A5A"/>
      </a:accent4>
      <a:accent5>
        <a:srgbClr val="878787"/>
      </a:accent5>
      <a:accent6>
        <a:srgbClr val="B4B4B4"/>
      </a:accent6>
      <a:hlink>
        <a:srgbClr val="0000FF"/>
      </a:hlink>
      <a:folHlink>
        <a:srgbClr val="800080"/>
      </a:folHlink>
    </a:clrScheme>
    <a:fontScheme name="PWC Office Them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PWC Office Theme Colors">
      <a:dk1>
        <a:sysClr val="windowText" lastClr="000000"/>
      </a:dk1>
      <a:lt1>
        <a:sysClr val="window" lastClr="FFFFFF"/>
      </a:lt1>
      <a:dk2>
        <a:srgbClr val="E0301E"/>
      </a:dk2>
      <a:lt2>
        <a:srgbClr val="7C7C7B"/>
      </a:lt2>
      <a:accent1>
        <a:srgbClr val="E0301E"/>
      </a:accent1>
      <a:accent2>
        <a:srgbClr val="000000"/>
      </a:accent2>
      <a:accent3>
        <a:srgbClr val="2D2D2D"/>
      </a:accent3>
      <a:accent4>
        <a:srgbClr val="5A5A5A"/>
      </a:accent4>
      <a:accent5>
        <a:srgbClr val="878787"/>
      </a:accent5>
      <a:accent6>
        <a:srgbClr val="B4B4B4"/>
      </a:accent6>
      <a:hlink>
        <a:srgbClr val="0000FF"/>
      </a:hlink>
      <a:folHlink>
        <a:srgbClr val="800080"/>
      </a:folHlink>
    </a:clrScheme>
    <a:fontScheme name="PWC Office Them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486</Words>
  <Application>Microsoft Office PowerPoint</Application>
  <PresentationFormat>A4 210 x 297 mm</PresentationFormat>
  <Paragraphs>98</Paragraphs>
  <Slides>6</Slides>
  <Notes>5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4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6</vt:i4>
      </vt:variant>
    </vt:vector>
  </HeadingPairs>
  <TitlesOfParts>
    <vt:vector size="12" baseType="lpstr">
      <vt:lpstr>ＭＳ Ｐゴシック</vt:lpstr>
      <vt:lpstr>游ゴシック</vt:lpstr>
      <vt:lpstr>Arial</vt:lpstr>
      <vt:lpstr>Wingdings</vt:lpstr>
      <vt:lpstr>Office テーマ</vt:lpstr>
      <vt:lpstr>think-cell スライド</vt:lpstr>
      <vt:lpstr>1-4.（演習）自社における職場の問題の発生状況</vt:lpstr>
      <vt:lpstr>【演習b】　(2)リスクの洗い出し</vt:lpstr>
      <vt:lpstr>【演習b】　(3)リスクの評価（1/2）</vt:lpstr>
      <vt:lpstr>【演習b】　(3)リスクの評価（2/2）</vt:lpstr>
      <vt:lpstr>【演習b】　(4)リスクの優先順位付け</vt:lpstr>
      <vt:lpstr>3-1.アクションプランの作成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5-09-01T14:13:27Z</dcterms:created>
  <dcterms:modified xsi:type="dcterms:W3CDTF">2019-12-02T02:27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Offisync_ServerID">
    <vt:lpwstr>ae74e162-b6db-4989-85f5-e7c79995e2ac</vt:lpwstr>
  </property>
  <property fmtid="{D5CDD505-2E9C-101B-9397-08002B2CF9AE}" pid="3" name="Offisync_UniqueId">
    <vt:lpwstr>830743</vt:lpwstr>
  </property>
  <property fmtid="{D5CDD505-2E9C-101B-9397-08002B2CF9AE}" pid="4" name="Jive_VersionGuid">
    <vt:lpwstr>d88cd9b3-ccf4-4a15-aaa5-f538cdd43174</vt:lpwstr>
  </property>
  <property fmtid="{D5CDD505-2E9C-101B-9397-08002B2CF9AE}" pid="5" name="Offisync_UpdateToken">
    <vt:lpwstr>1</vt:lpwstr>
  </property>
  <property fmtid="{D5CDD505-2E9C-101B-9397-08002B2CF9AE}" pid="6" name="Offisync_ProviderInitializationData">
    <vt:lpwstr>https://pwc-spark.com</vt:lpwstr>
  </property>
  <property fmtid="{D5CDD505-2E9C-101B-9397-08002B2CF9AE}" pid="7" name="Jive_LatestUserAccountName">
    <vt:lpwstr>aohashi004</vt:lpwstr>
  </property>
</Properties>
</file>